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4" r:id="rId2"/>
    <p:sldMasterId id="2147483730" r:id="rId3"/>
  </p:sldMasterIdLst>
  <p:sldIdLst>
    <p:sldId id="593" r:id="rId4"/>
    <p:sldId id="2147471177" r:id="rId5"/>
    <p:sldId id="2147471179" r:id="rId6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1DF6CC-CDA4-40D4-BC10-396CDB6F77F0}" v="15" dt="2025-05-14T16:49:23.0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microsoft.com/office/2016/11/relationships/changesInfo" Target="changesInfos/changesInfo1.xml"/><Relationship Id="rId5" Type="http://schemas.openxmlformats.org/officeDocument/2006/relationships/slide" Target="slides/slide2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zokis, Anastasios" userId="2883112f-8662-4639-8994-83dfdd6b1584" providerId="ADAL" clId="{0D1DF6CC-CDA4-40D4-BC10-396CDB6F77F0}"/>
    <pc:docChg chg="undo custSel modSld modMainMaster">
      <pc:chgData name="Bartzokis, Anastasios" userId="2883112f-8662-4639-8994-83dfdd6b1584" providerId="ADAL" clId="{0D1DF6CC-CDA4-40D4-BC10-396CDB6F77F0}" dt="2025-05-14T16:49:45.556" v="130" actId="20577"/>
      <pc:docMkLst>
        <pc:docMk/>
      </pc:docMkLst>
      <pc:sldChg chg="addSp delSp modSp mod">
        <pc:chgData name="Bartzokis, Anastasios" userId="2883112f-8662-4639-8994-83dfdd6b1584" providerId="ADAL" clId="{0D1DF6CC-CDA4-40D4-BC10-396CDB6F77F0}" dt="2025-05-14T16:49:45.556" v="130" actId="20577"/>
        <pc:sldMkLst>
          <pc:docMk/>
          <pc:sldMk cId="2892488195" sldId="593"/>
        </pc:sldMkLst>
        <pc:spChg chg="del mod">
          <ac:chgData name="Bartzokis, Anastasios" userId="2883112f-8662-4639-8994-83dfdd6b1584" providerId="ADAL" clId="{0D1DF6CC-CDA4-40D4-BC10-396CDB6F77F0}" dt="2025-05-14T16:49:18.131" v="124" actId="478"/>
          <ac:spMkLst>
            <pc:docMk/>
            <pc:sldMk cId="2892488195" sldId="593"/>
            <ac:spMk id="4" creationId="{644B3047-77F1-4C34-B6AF-C22415FBCFA3}"/>
          </ac:spMkLst>
        </pc:spChg>
        <pc:spChg chg="add del mod">
          <ac:chgData name="Bartzokis, Anastasios" userId="2883112f-8662-4639-8994-83dfdd6b1584" providerId="ADAL" clId="{0D1DF6CC-CDA4-40D4-BC10-396CDB6F77F0}" dt="2025-05-14T16:49:21.227" v="125" actId="478"/>
          <ac:spMkLst>
            <pc:docMk/>
            <pc:sldMk cId="2892488195" sldId="593"/>
            <ac:spMk id="8" creationId="{F4E69B38-A55E-4696-0000-D0E4BC7E5F14}"/>
          </ac:spMkLst>
        </pc:spChg>
        <pc:spChg chg="add mod">
          <ac:chgData name="Bartzokis, Anastasios" userId="2883112f-8662-4639-8994-83dfdd6b1584" providerId="ADAL" clId="{0D1DF6CC-CDA4-40D4-BC10-396CDB6F77F0}" dt="2025-05-14T16:49:45.556" v="130" actId="20577"/>
          <ac:spMkLst>
            <pc:docMk/>
            <pc:sldMk cId="2892488195" sldId="593"/>
            <ac:spMk id="9" creationId="{42185DF6-E62F-66C5-31B7-E6C13DD120B3}"/>
          </ac:spMkLst>
        </pc:spChg>
        <pc:picChg chg="add del mod">
          <ac:chgData name="Bartzokis, Anastasios" userId="2883112f-8662-4639-8994-83dfdd6b1584" providerId="ADAL" clId="{0D1DF6CC-CDA4-40D4-BC10-396CDB6F77F0}" dt="2025-05-14T16:49:18.131" v="124" actId="478"/>
          <ac:picMkLst>
            <pc:docMk/>
            <pc:sldMk cId="2892488195" sldId="593"/>
            <ac:picMk id="2" creationId="{B47DA81D-6D0F-6C23-CD84-C0503B104C2F}"/>
          </ac:picMkLst>
        </pc:picChg>
        <pc:picChg chg="add del mod">
          <ac:chgData name="Bartzokis, Anastasios" userId="2883112f-8662-4639-8994-83dfdd6b1584" providerId="ADAL" clId="{0D1DF6CC-CDA4-40D4-BC10-396CDB6F77F0}" dt="2025-05-14T16:49:18.131" v="124" actId="478"/>
          <ac:picMkLst>
            <pc:docMk/>
            <pc:sldMk cId="2892488195" sldId="593"/>
            <ac:picMk id="6" creationId="{6D103313-F036-0885-67EB-846F59714A95}"/>
          </ac:picMkLst>
        </pc:picChg>
        <pc:picChg chg="add del mod">
          <ac:chgData name="Bartzokis, Anastasios" userId="2883112f-8662-4639-8994-83dfdd6b1584" providerId="ADAL" clId="{0D1DF6CC-CDA4-40D4-BC10-396CDB6F77F0}" dt="2025-05-14T16:49:18.131" v="124" actId="478"/>
          <ac:picMkLst>
            <pc:docMk/>
            <pc:sldMk cId="2892488195" sldId="593"/>
            <ac:picMk id="7" creationId="{2413F469-3952-E21E-AE43-C884C9B19B11}"/>
          </ac:picMkLst>
        </pc:picChg>
        <pc:picChg chg="add mod">
          <ac:chgData name="Bartzokis, Anastasios" userId="2883112f-8662-4639-8994-83dfdd6b1584" providerId="ADAL" clId="{0D1DF6CC-CDA4-40D4-BC10-396CDB6F77F0}" dt="2025-05-14T16:49:23.081" v="126"/>
          <ac:picMkLst>
            <pc:docMk/>
            <pc:sldMk cId="2892488195" sldId="593"/>
            <ac:picMk id="10" creationId="{056AA1EC-8977-7BB7-4DA2-1E9F085D6B85}"/>
          </ac:picMkLst>
        </pc:picChg>
        <pc:picChg chg="add mod">
          <ac:chgData name="Bartzokis, Anastasios" userId="2883112f-8662-4639-8994-83dfdd6b1584" providerId="ADAL" clId="{0D1DF6CC-CDA4-40D4-BC10-396CDB6F77F0}" dt="2025-05-14T16:49:23.081" v="126"/>
          <ac:picMkLst>
            <pc:docMk/>
            <pc:sldMk cId="2892488195" sldId="593"/>
            <ac:picMk id="11" creationId="{56C372EF-ABEC-C997-705E-3D7B773DAC4A}"/>
          </ac:picMkLst>
        </pc:picChg>
        <pc:picChg chg="add mod">
          <ac:chgData name="Bartzokis, Anastasios" userId="2883112f-8662-4639-8994-83dfdd6b1584" providerId="ADAL" clId="{0D1DF6CC-CDA4-40D4-BC10-396CDB6F77F0}" dt="2025-05-14T16:49:23.081" v="126"/>
          <ac:picMkLst>
            <pc:docMk/>
            <pc:sldMk cId="2892488195" sldId="593"/>
            <ac:picMk id="12" creationId="{A1C88EFA-DE81-275D-3065-322F1870B4DF}"/>
          </ac:picMkLst>
        </pc:picChg>
        <pc:picChg chg="del">
          <ac:chgData name="Bartzokis, Anastasios" userId="2883112f-8662-4639-8994-83dfdd6b1584" providerId="ADAL" clId="{0D1DF6CC-CDA4-40D4-BC10-396CDB6F77F0}" dt="2025-05-14T14:14:09.359" v="1" actId="478"/>
          <ac:picMkLst>
            <pc:docMk/>
            <pc:sldMk cId="2892488195" sldId="593"/>
            <ac:picMk id="146" creationId="{06AD3A08-EFD4-4586-A0E9-08661568C778}"/>
          </ac:picMkLst>
        </pc:picChg>
        <pc:picChg chg="del">
          <ac:chgData name="Bartzokis, Anastasios" userId="2883112f-8662-4639-8994-83dfdd6b1584" providerId="ADAL" clId="{0D1DF6CC-CDA4-40D4-BC10-396CDB6F77F0}" dt="2025-05-14T14:14:08.629" v="0" actId="478"/>
          <ac:picMkLst>
            <pc:docMk/>
            <pc:sldMk cId="2892488195" sldId="593"/>
            <ac:picMk id="147" creationId="{456F3337-E4F3-4B43-96E9-7D5E5EF8790B}"/>
          </ac:picMkLst>
        </pc:picChg>
      </pc:sldChg>
      <pc:sldChg chg="modSp mod">
        <pc:chgData name="Bartzokis, Anastasios" userId="2883112f-8662-4639-8994-83dfdd6b1584" providerId="ADAL" clId="{0D1DF6CC-CDA4-40D4-BC10-396CDB6F77F0}" dt="2025-05-14T14:36:25.845" v="117" actId="20577"/>
        <pc:sldMkLst>
          <pc:docMk/>
          <pc:sldMk cId="2325962597" sldId="2147471177"/>
        </pc:sldMkLst>
        <pc:spChg chg="mod">
          <ac:chgData name="Bartzokis, Anastasios" userId="2883112f-8662-4639-8994-83dfdd6b1584" providerId="ADAL" clId="{0D1DF6CC-CDA4-40D4-BC10-396CDB6F77F0}" dt="2025-05-14T14:23:54.331" v="59" actId="1076"/>
          <ac:spMkLst>
            <pc:docMk/>
            <pc:sldMk cId="2325962597" sldId="2147471177"/>
            <ac:spMk id="2" creationId="{C927E461-8869-B50B-9D11-ED6F7911C205}"/>
          </ac:spMkLst>
        </pc:spChg>
        <pc:spChg chg="mod">
          <ac:chgData name="Bartzokis, Anastasios" userId="2883112f-8662-4639-8994-83dfdd6b1584" providerId="ADAL" clId="{0D1DF6CC-CDA4-40D4-BC10-396CDB6F77F0}" dt="2025-05-14T14:24:09.827" v="60" actId="1076"/>
          <ac:spMkLst>
            <pc:docMk/>
            <pc:sldMk cId="2325962597" sldId="2147471177"/>
            <ac:spMk id="3" creationId="{807D67BF-3DF4-31B7-ECB3-402FF87FEFA0}"/>
          </ac:spMkLst>
        </pc:spChg>
        <pc:spChg chg="mod">
          <ac:chgData name="Bartzokis, Anastasios" userId="2883112f-8662-4639-8994-83dfdd6b1584" providerId="ADAL" clId="{0D1DF6CC-CDA4-40D4-BC10-396CDB6F77F0}" dt="2025-05-14T14:36:25.845" v="117" actId="20577"/>
          <ac:spMkLst>
            <pc:docMk/>
            <pc:sldMk cId="2325962597" sldId="2147471177"/>
            <ac:spMk id="32174" creationId="{1CC10D77-A529-2708-6A54-B4CBC8962861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0" creationId="{FE9494E6-7E4B-4776-72C4-E8EBF08A1010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1" creationId="{3891CB0C-C2B1-28E9-BE31-048032DC9278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2" creationId="{DF342180-D197-1034-542E-0F2F159A63AB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3" creationId="{76A5B842-C71E-4D33-52BA-9E514771B546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4" creationId="{89F4BAFF-AF3C-793E-6E4A-3C0A6B91BC1B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5" creationId="{27A445A3-8651-20A1-2A64-A02B3A34EDE3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6" creationId="{36DBB695-E8CA-C0BE-C5E0-FA7FE1156F27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7" creationId="{D3D62D9C-A07D-BDC5-38CD-997DEDBCFB88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8" creationId="{AB6F390B-1819-4290-08EA-4BB09325FBD5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19" creationId="{45659A4B-36D3-F70A-976F-10D8376C3EB5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0" creationId="{85EC2BE7-A07D-0784-8B65-9B1AB72AFA37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1" creationId="{52251430-A349-E6E6-47A4-6667B23B5C7D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2" creationId="{0A69EEF6-F29C-6B01-F1DD-3BF7CDD4B777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3" creationId="{1B65EE9C-CB13-70E9-1DA2-00E7D83AAF13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4" creationId="{596978D4-9552-9D4D-935A-9BF14C36574A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5" creationId="{381353B1-8F2C-3F40-031B-AB2CA03EFC00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6" creationId="{7C3E9CCD-C537-D879-20E8-1E826BD6EAB1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7" creationId="{47BA6448-9E13-588D-DFC6-A5F72C90F3E7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8" creationId="{36BDE8AA-6B8D-CC23-82BA-6C85003AE131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29" creationId="{E23D1BD7-9BD1-6DFF-51EF-D81EF8502629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0" creationId="{C19B7A9F-5DFA-13DF-5BBB-EC1EF8E75633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1" creationId="{88EEE659-85CF-0553-2499-18001D92B3F2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2" creationId="{C946B975-309F-CB66-5214-C56292E51F58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3" creationId="{1B39BDE0-6C3A-5E5F-2FEC-F0E118B94BDA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4" creationId="{8FC64843-3E33-E604-69BC-86A4BE175850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5" creationId="{1A914BC4-A62E-C911-684D-63A2A9429C40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6" creationId="{284F6D08-ED61-D95A-A2D2-F1DA1DF1798C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7" creationId="{B549E1FA-C019-B430-E041-0EC5700B171C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8" creationId="{5D5F251F-1FC6-FB7B-800E-2B3AE73698F1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39" creationId="{BAF010C8-9D42-0980-FD12-C5001D29B1B5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0" creationId="{F6917B5C-6067-AF9D-792F-EBD990ED5F63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1" creationId="{B8E55918-EFBA-A6FF-D1BA-3B636CB1177E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2" creationId="{D69447BE-1C31-5FC1-7ED6-37F289F4931C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3" creationId="{673E295D-A794-26D8-801D-81B7B7855704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4" creationId="{38343D59-37DD-84AB-8417-C20FA08A8212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5" creationId="{76BB7447-8F34-7B73-AD9B-4F9048A513AE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6" creationId="{6D66342A-11CB-0495-B872-399F88AA9971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7" creationId="{7F511E48-8E87-D644-C853-EB96ABF9FC4E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8" creationId="{8833A1B1-FE9C-B617-066F-99CEA2BE0E36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49" creationId="{017A5788-E62C-838C-4B14-1234157053C5}"/>
          </ac:spMkLst>
        </pc:spChg>
        <pc:spChg chg="mod">
          <ac:chgData name="Bartzokis, Anastasios" userId="2883112f-8662-4639-8994-83dfdd6b1584" providerId="ADAL" clId="{0D1DF6CC-CDA4-40D4-BC10-396CDB6F77F0}" dt="2025-05-14T14:24:23.674" v="63" actId="1076"/>
          <ac:spMkLst>
            <pc:docMk/>
            <pc:sldMk cId="2325962597" sldId="2147471177"/>
            <ac:spMk id="32450" creationId="{FC449AE1-D998-E0F1-7113-87B00530162E}"/>
          </ac:spMkLst>
        </pc:spChg>
        <pc:spChg chg="mod">
          <ac:chgData name="Bartzokis, Anastasios" userId="2883112f-8662-4639-8994-83dfdd6b1584" providerId="ADAL" clId="{0D1DF6CC-CDA4-40D4-BC10-396CDB6F77F0}" dt="2025-05-14T14:24:18.747" v="62" actId="1076"/>
          <ac:spMkLst>
            <pc:docMk/>
            <pc:sldMk cId="2325962597" sldId="2147471177"/>
            <ac:spMk id="32452" creationId="{22D54B3E-C090-538D-46F2-27BB96C84B2C}"/>
          </ac:spMkLst>
        </pc:spChg>
        <pc:spChg chg="mod">
          <ac:chgData name="Bartzokis, Anastasios" userId="2883112f-8662-4639-8994-83dfdd6b1584" providerId="ADAL" clId="{0D1DF6CC-CDA4-40D4-BC10-396CDB6F77F0}" dt="2025-05-14T14:24:14.350" v="61" actId="1076"/>
          <ac:spMkLst>
            <pc:docMk/>
            <pc:sldMk cId="2325962597" sldId="2147471177"/>
            <ac:spMk id="32456" creationId="{2414D85E-CFEE-ADC5-BE81-11963080BCD7}"/>
          </ac:spMkLst>
        </pc:spChg>
        <pc:grpChg chg="mod">
          <ac:chgData name="Bartzokis, Anastasios" userId="2883112f-8662-4639-8994-83dfdd6b1584" providerId="ADAL" clId="{0D1DF6CC-CDA4-40D4-BC10-396CDB6F77F0}" dt="2025-05-14T14:24:23.674" v="63" actId="1076"/>
          <ac:grpSpMkLst>
            <pc:docMk/>
            <pc:sldMk cId="2325962597" sldId="2147471177"/>
            <ac:grpSpMk id="32409" creationId="{1045722C-2ABA-02C8-626D-A8BD6D992275}"/>
          </ac:grpSpMkLst>
        </pc:grpChg>
      </pc:sldChg>
      <pc:sldChg chg="addSp delSp modSp mod">
        <pc:chgData name="Bartzokis, Anastasios" userId="2883112f-8662-4639-8994-83dfdd6b1584" providerId="ADAL" clId="{0D1DF6CC-CDA4-40D4-BC10-396CDB6F77F0}" dt="2025-05-14T14:28:53.138" v="113" actId="478"/>
        <pc:sldMkLst>
          <pc:docMk/>
          <pc:sldMk cId="1717654393" sldId="2147471179"/>
        </pc:sldMkLst>
        <pc:spChg chg="add del mod modVis">
          <ac:chgData name="Bartzokis, Anastasios" userId="2883112f-8662-4639-8994-83dfdd6b1584" providerId="ADAL" clId="{0D1DF6CC-CDA4-40D4-BC10-396CDB6F77F0}" dt="2025-05-14T14:28:07.083" v="86"/>
          <ac:spMkLst>
            <pc:docMk/>
            <pc:sldMk cId="1717654393" sldId="2147471179"/>
            <ac:spMk id="3" creationId="{77FC059D-F3F9-40BE-2A0F-0F99474A77A2}"/>
          </ac:spMkLst>
        </pc:spChg>
        <pc:spChg chg="add mod">
          <ac:chgData name="Bartzokis, Anastasios" userId="2883112f-8662-4639-8994-83dfdd6b1584" providerId="ADAL" clId="{0D1DF6CC-CDA4-40D4-BC10-396CDB6F77F0}" dt="2025-05-14T14:28:20.873" v="105" actId="20577"/>
          <ac:spMkLst>
            <pc:docMk/>
            <pc:sldMk cId="1717654393" sldId="2147471179"/>
            <ac:spMk id="4" creationId="{AD18646D-D71C-4874-6498-E2A74C013BD8}"/>
          </ac:spMkLst>
        </pc:spChg>
        <pc:spChg chg="del mod">
          <ac:chgData name="Bartzokis, Anastasios" userId="2883112f-8662-4639-8994-83dfdd6b1584" providerId="ADAL" clId="{0D1DF6CC-CDA4-40D4-BC10-396CDB6F77F0}" dt="2025-05-14T14:28:22.672" v="106" actId="478"/>
          <ac:spMkLst>
            <pc:docMk/>
            <pc:sldMk cId="1717654393" sldId="2147471179"/>
            <ac:spMk id="11" creationId="{60B45AB1-51F9-4E0B-AAFE-78DF6541CB23}"/>
          </ac:spMkLst>
        </pc:spChg>
        <pc:spChg chg="add del mod">
          <ac:chgData name="Bartzokis, Anastasios" userId="2883112f-8662-4639-8994-83dfdd6b1584" providerId="ADAL" clId="{0D1DF6CC-CDA4-40D4-BC10-396CDB6F77F0}" dt="2025-05-14T14:28:25.326" v="109" actId="478"/>
          <ac:spMkLst>
            <pc:docMk/>
            <pc:sldMk cId="1717654393" sldId="2147471179"/>
            <ac:spMk id="25" creationId="{7E8F5BAC-4E42-338E-CD4A-09BA653EEAF3}"/>
          </ac:spMkLst>
        </pc:spChg>
        <pc:spChg chg="del mod">
          <ac:chgData name="Bartzokis, Anastasios" userId="2883112f-8662-4639-8994-83dfdd6b1584" providerId="ADAL" clId="{0D1DF6CC-CDA4-40D4-BC10-396CDB6F77F0}" dt="2025-05-14T14:28:53.138" v="113" actId="478"/>
          <ac:spMkLst>
            <pc:docMk/>
            <pc:sldMk cId="1717654393" sldId="2147471179"/>
            <ac:spMk id="32460" creationId="{153159C0-7A10-2D30-F763-82CAC3370E7E}"/>
          </ac:spMkLst>
        </pc:spChg>
        <pc:graphicFrameChg chg="mod">
          <ac:chgData name="Bartzokis, Anastasios" userId="2883112f-8662-4639-8994-83dfdd6b1584" providerId="ADAL" clId="{0D1DF6CC-CDA4-40D4-BC10-396CDB6F77F0}" dt="2025-05-14T14:28:25.830" v="111"/>
          <ac:graphicFrameMkLst>
            <pc:docMk/>
            <pc:sldMk cId="1717654393" sldId="2147471179"/>
            <ac:graphicFrameMk id="31746" creationId="{E0A9DE27-5CEC-47D2-924E-5875EDE65237}"/>
          </ac:graphicFrameMkLst>
        </pc:graphicFrameChg>
      </pc:sldChg>
      <pc:sldMasterChg chg="addSldLayout modSldLayout sldLayoutOrd">
        <pc:chgData name="Bartzokis, Anastasios" userId="2883112f-8662-4639-8994-83dfdd6b1584" providerId="ADAL" clId="{0D1DF6CC-CDA4-40D4-BC10-396CDB6F77F0}" dt="2025-05-14T14:16:44.786" v="5" actId="20578"/>
        <pc:sldMasterMkLst>
          <pc:docMk/>
          <pc:sldMasterMk cId="1316529665" sldId="2147483724"/>
        </pc:sldMasterMkLst>
        <pc:sldLayoutChg chg="ord">
          <pc:chgData name="Bartzokis, Anastasios" userId="2883112f-8662-4639-8994-83dfdd6b1584" providerId="ADAL" clId="{0D1DF6CC-CDA4-40D4-BC10-396CDB6F77F0}" dt="2025-05-14T14:16:42.823" v="4" actId="20578"/>
          <pc:sldLayoutMkLst>
            <pc:docMk/>
            <pc:sldMasterMk cId="1747070432" sldId="2147483730"/>
            <pc:sldLayoutMk cId="1009922221" sldId="2147483728"/>
          </pc:sldLayoutMkLst>
        </pc:sldLayoutChg>
        <pc:sldLayoutChg chg="new mod replId">
          <pc:chgData name="Bartzokis, Anastasios" userId="2883112f-8662-4639-8994-83dfdd6b1584" providerId="ADAL" clId="{0D1DF6CC-CDA4-40D4-BC10-396CDB6F77F0}" dt="2025-05-14T14:16:28.797" v="3" actId="11236"/>
          <pc:sldLayoutMkLst>
            <pc:docMk/>
            <pc:sldMasterMk cId="1316529665" sldId="2147483724"/>
            <pc:sldLayoutMk cId="1848387832" sldId="2147483736"/>
          </pc:sldLayoutMkLst>
        </pc:sldLayoutChg>
      </pc:sldMasterChg>
      <pc:sldMasterChg chg="delSp modSp mod modSldLayout sldLayoutOrd">
        <pc:chgData name="Bartzokis, Anastasios" userId="2883112f-8662-4639-8994-83dfdd6b1584" providerId="ADAL" clId="{0D1DF6CC-CDA4-40D4-BC10-396CDB6F77F0}" dt="2025-05-14T16:36:45.261" v="119" actId="1076"/>
        <pc:sldMasterMkLst>
          <pc:docMk/>
          <pc:sldMasterMk cId="1747070432" sldId="2147483730"/>
        </pc:sldMasterMkLst>
        <pc:spChg chg="del">
          <ac:chgData name="Bartzokis, Anastasios" userId="2883112f-8662-4639-8994-83dfdd6b1584" providerId="ADAL" clId="{0D1DF6CC-CDA4-40D4-BC10-396CDB6F77F0}" dt="2025-05-14T16:36:37.426" v="118" actId="478"/>
          <ac:spMkLst>
            <pc:docMk/>
            <pc:sldMasterMk cId="1747070432" sldId="2147483730"/>
            <ac:spMk id="29" creationId="{00000000-0000-0000-0000-000000000000}"/>
          </ac:spMkLst>
        </pc:spChg>
        <pc:picChg chg="mod">
          <ac:chgData name="Bartzokis, Anastasios" userId="2883112f-8662-4639-8994-83dfdd6b1584" providerId="ADAL" clId="{0D1DF6CC-CDA4-40D4-BC10-396CDB6F77F0}" dt="2025-05-14T16:36:45.261" v="119" actId="1076"/>
          <ac:picMkLst>
            <pc:docMk/>
            <pc:sldMasterMk cId="1747070432" sldId="2147483730"/>
            <ac:picMk id="5" creationId="{93245751-2641-E07B-8035-8A9220D9F77D}"/>
          </ac:picMkLst>
        </pc:picChg>
        <pc:picChg chg="mod">
          <ac:chgData name="Bartzokis, Anastasios" userId="2883112f-8662-4639-8994-83dfdd6b1584" providerId="ADAL" clId="{0D1DF6CC-CDA4-40D4-BC10-396CDB6F77F0}" dt="2025-05-14T16:36:45.261" v="119" actId="1076"/>
          <ac:picMkLst>
            <pc:docMk/>
            <pc:sldMasterMk cId="1747070432" sldId="2147483730"/>
            <ac:picMk id="7" creationId="{86C352D4-5E05-E092-7A0D-3A1E44F3DF29}"/>
          </ac:picMkLst>
        </pc:picChg>
        <pc:cxnChg chg="del">
          <ac:chgData name="Bartzokis, Anastasios" userId="2883112f-8662-4639-8994-83dfdd6b1584" providerId="ADAL" clId="{0D1DF6CC-CDA4-40D4-BC10-396CDB6F77F0}" dt="2025-05-14T16:36:37.426" v="118" actId="478"/>
          <ac:cxnSpMkLst>
            <pc:docMk/>
            <pc:sldMasterMk cId="1747070432" sldId="2147483730"/>
            <ac:cxnSpMk id="17" creationId="{F024B3B3-3138-44BB-8DDD-6BDCEF24DEDC}"/>
          </ac:cxnSpMkLst>
        </pc:cxnChg>
        <pc:sldLayoutChg chg="modSp mod ord">
          <pc:chgData name="Bartzokis, Anastasios" userId="2883112f-8662-4639-8994-83dfdd6b1584" providerId="ADAL" clId="{0D1DF6CC-CDA4-40D4-BC10-396CDB6F77F0}" dt="2025-05-14T14:16:44.786" v="5" actId="20578"/>
          <pc:sldLayoutMkLst>
            <pc:docMk/>
            <pc:sldMasterMk cId="1747070432" sldId="2147483730"/>
            <pc:sldLayoutMk cId="1009922221" sldId="2147483728"/>
          </pc:sldLayoutMkLst>
          <pc:spChg chg="mod">
            <ac:chgData name="Bartzokis, Anastasios" userId="2883112f-8662-4639-8994-83dfdd6b1584" providerId="ADAL" clId="{0D1DF6CC-CDA4-40D4-BC10-396CDB6F77F0}" dt="2025-05-14T14:16:44.786" v="5" actId="20578"/>
            <ac:spMkLst>
              <pc:docMk/>
              <pc:sldMasterMk cId="1747070432" sldId="2147483730"/>
              <pc:sldLayoutMk cId="1009922221" sldId="2147483728"/>
              <ac:spMk id="5" creationId="{00000000-0000-0000-0000-000000000000}"/>
            </ac:spMkLst>
          </pc:spChg>
          <pc:spChg chg="mod">
            <ac:chgData name="Bartzokis, Anastasios" userId="2883112f-8662-4639-8994-83dfdd6b1584" providerId="ADAL" clId="{0D1DF6CC-CDA4-40D4-BC10-396CDB6F77F0}" dt="2025-05-14T14:16:44.786" v="5" actId="20578"/>
            <ac:spMkLst>
              <pc:docMk/>
              <pc:sldMasterMk cId="1747070432" sldId="2147483730"/>
              <pc:sldLayoutMk cId="1009922221" sldId="2147483728"/>
              <ac:spMk id="6" creationId="{00000000-0000-0000-0000-000000000000}"/>
            </ac:spMkLst>
          </pc:spChg>
          <pc:spChg chg="mod">
            <ac:chgData name="Bartzokis, Anastasios" userId="2883112f-8662-4639-8994-83dfdd6b1584" providerId="ADAL" clId="{0D1DF6CC-CDA4-40D4-BC10-396CDB6F77F0}" dt="2025-05-14T14:16:44.786" v="5" actId="20578"/>
            <ac:spMkLst>
              <pc:docMk/>
              <pc:sldMasterMk cId="1747070432" sldId="2147483730"/>
              <pc:sldLayoutMk cId="1009922221" sldId="2147483728"/>
              <ac:spMk id="9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6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4.sv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101C832-6FAC-40A0-BBA3-94F0E463DC45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3073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954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027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36669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480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19669-F96A-4239-990D-B48E0AE68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20154" y="6295536"/>
            <a:ext cx="201384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  <a:endParaRPr lang="en-GB" sz="600" kern="120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8D073B6C-A3F6-459D-BC13-DC57D78ED58C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50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96358" y="6295536"/>
            <a:ext cx="193763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98B95CDD-2ABB-4477-9BBC-48463CC47FE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29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049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64606" y="6295536"/>
            <a:ext cx="196938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26EE2363-59EE-4324-9D1D-5A7467133FB7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379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5154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371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8C22B7E-730E-4FA3-AEBD-0EC53A30015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BDBF24D-4D2F-42A4-AD1C-43B70FC5B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C8AEEAC-DFBC-44E5-A1A3-F209B8C054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F0DAB2D-E302-48A2-9568-49B2734ACB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907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4949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2170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6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4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6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5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3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6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0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5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18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2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107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30955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1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7295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9559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4952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1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1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01328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7530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DEB4B6-682E-4009-89BC-CB154E8DC002}"/>
              </a:ext>
            </a:extLst>
          </p:cNvPr>
          <p:cNvSpPr>
            <a:spLocks noChangeAspect="1"/>
          </p:cNvSpPr>
          <p:nvPr userDrawn="1"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ABE048-BB93-46AF-B21F-692455B275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9B4976CB-3107-403A-8E4C-49D73E552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F974C88-37FD-486C-A053-2B6EC15FFE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320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9936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13A210-92DD-4299-9F1D-B2FE60EC3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02702" y="6295536"/>
            <a:ext cx="193129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A75E6CC5-8B44-4F43-ACAA-428A4ADCE45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517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2139037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251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973784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D7CE8814-2E6C-49B9-A2A8-80AB288D9A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6563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316E0CBF-F67B-4988-A694-3CA5B79E65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253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999643" y="1731971"/>
            <a:ext cx="2177326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1" y="3783824"/>
            <a:ext cx="2177326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0139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4701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69262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3824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298384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6552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1112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7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6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70083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70083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57773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6" y="2869887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5" y="4389395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24476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A20C8-0D4D-1C4C-7304-B90D23B8D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32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A20C8-0D4D-1C4C-7304-B90D23B8D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41591"/>
            <a:ext cx="10185600" cy="5184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17B002-334A-40EC-B121-E986C0119D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</p:spTree>
    <p:extLst>
      <p:ext uri="{BB962C8B-B14F-4D97-AF65-F5344CB8AC3E}">
        <p14:creationId xmlns:p14="http://schemas.microsoft.com/office/powerpoint/2010/main" val="19350319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6408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0E2D7F6-77EE-4A84-A347-E3DE3770F560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A38D1D5C-300B-4EC8-97CB-72C6B7A7CC7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D721161A-007B-4922-864A-502861C248B2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23EB2905-098A-41C5-AB65-063729C54D0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33C2314-88FE-4413-B812-D2D4A2998E51}"/>
              </a:ext>
            </a:extLst>
          </p:cNvPr>
          <p:cNvSpPr>
            <a:spLocks noChangeAspect="1"/>
          </p:cNvSpPr>
          <p:nvPr userDrawn="1"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C91CE7F-7855-470E-A1C6-7B98C9783C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33FD179-5843-4777-B4EF-2C33EA1427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78F7078-5FAB-4923-B594-5A3AB65111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1265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3D2049BB-683A-4A35-8AF7-77C8C2E1E58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E98585D4-16BC-4D7E-81C9-19696FECDF51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293D5B-4B72-4759-A20F-7EDA06B33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A4BE95-38D5-4D8D-B612-FC3212170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F4B3C5-EBC5-4BF2-A67E-F711B4822472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3567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90B7A897-5A26-41CB-AEE5-250C628151A3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EB8B3C09-FAB2-429B-938C-E78504065962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9BF5FA-A218-4481-9952-70E809F83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537B35-1388-4BAF-9520-9BDE0CCA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8B9F63F-C8B5-4C95-9816-589FF270249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5836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1">
    <p:bg>
      <p:bgPr>
        <a:gradFill>
          <a:gsLst>
            <a:gs pos="0">
              <a:schemeClr val="accent4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2F8830-4F74-4E7B-8634-A831C07B4D86}"/>
              </a:ext>
            </a:extLst>
          </p:cNvPr>
          <p:cNvSpPr/>
          <p:nvPr userDrawn="1"/>
        </p:nvSpPr>
        <p:spPr>
          <a:xfrm>
            <a:off x="1004888" y="762000"/>
            <a:ext cx="7367587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095959D6-539D-4DBA-A407-486EBC7BD27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FC671-4434-4988-9BE6-E6E05C1E90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38A5EF-7113-4975-A890-492075EFAA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2598B6-5992-4ED7-A56F-E61779FCAAAD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raphic 8">
            <a:extLst>
              <a:ext uri="{FF2B5EF4-FFF2-40B4-BE49-F238E27FC236}">
                <a16:creationId xmlns:a16="http://schemas.microsoft.com/office/drawing/2014/main" id="{CAAB85AA-9E5A-4C61-B424-F7AF53548327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1001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7483AC7-339F-48D4-9AB4-3046D5749CB9}"/>
              </a:ext>
            </a:extLst>
          </p:cNvPr>
          <p:cNvSpPr/>
          <p:nvPr userDrawn="1"/>
        </p:nvSpPr>
        <p:spPr>
          <a:xfrm>
            <a:off x="1004888" y="762000"/>
            <a:ext cx="7367587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2" name="Shape 8">
            <a:extLst>
              <a:ext uri="{FF2B5EF4-FFF2-40B4-BE49-F238E27FC236}">
                <a16:creationId xmlns:a16="http://schemas.microsoft.com/office/drawing/2014/main" id="{15EB5FA9-D117-4324-A3D4-5F62C3F1B10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D28B896E-27F6-49D5-8E14-861D71D86A49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64A7DC-07A4-43BD-BDC8-DCD851D6E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B90D9F-91A1-43F6-9146-83692170A3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D7D7CF2-0F24-42C5-950D-8831C090846B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hape 8">
            <a:extLst>
              <a:ext uri="{FF2B5EF4-FFF2-40B4-BE49-F238E27FC236}">
                <a16:creationId xmlns:a16="http://schemas.microsoft.com/office/drawing/2014/main" id="{FA7C57B7-3139-4227-860D-62744E80075C}"/>
              </a:ext>
            </a:extLst>
          </p:cNvPr>
          <p:cNvSpPr txBox="1">
            <a:spLocks/>
          </p:cNvSpPr>
          <p:nvPr userDrawn="1"/>
        </p:nvSpPr>
        <p:spPr>
          <a:xfrm>
            <a:off x="11099007" y="64193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66A7FB-075A-4AE6-86C7-092AFE2A5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9120194" y="64479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76F0CC-8F6E-44D5-8FBB-3E2FA1E03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038085" y="64193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84B0381-9719-4838-A466-2F6CF091D42B}"/>
              </a:ext>
            </a:extLst>
          </p:cNvPr>
          <p:cNvCxnSpPr/>
          <p:nvPr userDrawn="1"/>
        </p:nvCxnSpPr>
        <p:spPr>
          <a:xfrm>
            <a:off x="11080948" y="64193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82613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358641B0-A64D-42AC-AB80-2B2DE3763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2" t="3137" r="3345" b="294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204D0D1F-8410-4751-9F17-82062CC4247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354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AE64370-786B-4EB9-A918-4498A437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7851" t="22847" b="23582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88EE33-7A33-4169-88D0-D538A8D5A20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84956">
                <a:schemeClr val="bg1">
                  <a:alpha val="0"/>
                </a:schemeClr>
              </a:gs>
              <a:gs pos="36000">
                <a:schemeClr val="bg1">
                  <a:alpha val="8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8E299F-36DD-488D-AE8F-7D4E68D09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8">
            <a:extLst>
              <a:ext uri="{FF2B5EF4-FFF2-40B4-BE49-F238E27FC236}">
                <a16:creationId xmlns:a16="http://schemas.microsoft.com/office/drawing/2014/main" id="{92C56E33-D809-4537-841C-C9A7A931650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6924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05367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2569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6125" y="203863"/>
            <a:ext cx="10159753" cy="169200"/>
          </a:xfrm>
        </p:spPr>
        <p:txBody>
          <a:bodyPr anchor="b"/>
          <a:lstStyle>
            <a:lvl1pPr>
              <a:spcAft>
                <a:spcPts val="0"/>
              </a:spcAft>
              <a:defRPr sz="1023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5054509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2A673E-1BC9-44A2-8CDB-723C10E294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9" y="2882474"/>
            <a:ext cx="3654424" cy="510172"/>
          </a:xfrm>
        </p:spPr>
        <p:txBody>
          <a:bodyPr/>
          <a:lstStyle>
            <a:lvl1pPr>
              <a:lnSpc>
                <a:spcPts val="5400"/>
              </a:lnSpc>
              <a:defRPr kumimoji="0" lang="en-GB" sz="5400" b="0" i="0" u="none" strike="noStrike" kern="1200" cap="none" spc="0" normalizeH="0" baseline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7B9555-2CDD-7900-F5CE-88140C9BA4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62"/>
          <a:stretch/>
        </p:blipFill>
        <p:spPr>
          <a:xfrm>
            <a:off x="8785658" y="-389914"/>
            <a:ext cx="2414155" cy="2722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697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F7AF648-E8C1-435F-A91F-1FCE26666A3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9E02FE-A18D-433A-B7C5-66327044D5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4255FB05-4B59-458B-8EFD-8DCE3678F3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19">
            <a:extLst>
              <a:ext uri="{FF2B5EF4-FFF2-40B4-BE49-F238E27FC236}">
                <a16:creationId xmlns:a16="http://schemas.microsoft.com/office/drawing/2014/main" id="{64C954ED-B10B-4AF2-833F-37E615D3439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BD4AB80-538F-43A3-8C4D-16CCBDE87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54216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18EFD-2B71-3BC0-70B5-94304FBB1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483878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16123" y="1422400"/>
            <a:ext cx="10159754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6123" y="203863"/>
            <a:ext cx="10159754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016123" y="451575"/>
            <a:ext cx="10159754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9222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5657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1498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6125" y="203863"/>
            <a:ext cx="10159753" cy="169200"/>
          </a:xfrm>
        </p:spPr>
        <p:txBody>
          <a:bodyPr anchor="b"/>
          <a:lstStyle>
            <a:lvl1pPr>
              <a:spcAft>
                <a:spcPts val="0"/>
              </a:spcAft>
              <a:defRPr sz="1023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2778145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16123" y="1422400"/>
            <a:ext cx="10159754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6123" y="203863"/>
            <a:ext cx="10159754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016123" y="451575"/>
            <a:ext cx="10159754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4004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2A673E-1BC9-44A2-8CDB-723C10E294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839" y="2882474"/>
            <a:ext cx="3654424" cy="510172"/>
          </a:xfrm>
        </p:spPr>
        <p:txBody>
          <a:bodyPr/>
          <a:lstStyle>
            <a:lvl1pPr>
              <a:lnSpc>
                <a:spcPts val="5400"/>
              </a:lnSpc>
              <a:defRPr kumimoji="0" lang="en-GB" sz="5400" b="0" i="0" u="none" strike="noStrike" kern="1200" cap="none" spc="0" normalizeH="0" baseline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7B9555-2CDD-7900-F5CE-88140C9BA4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62"/>
          <a:stretch/>
        </p:blipFill>
        <p:spPr>
          <a:xfrm>
            <a:off x="8785658" y="-389914"/>
            <a:ext cx="2414155" cy="2722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1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3022F2F-B43A-41C4-BF6C-3739462B739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E69996B-9D51-47AF-8239-CB068E0662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AE26B475-B5C4-4347-8C21-09E3E42E775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0EC61BC-58E1-4775-ADB9-771F90B82F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C17CDB-6172-4525-81E9-4F0C8DBBA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065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9">
            <a:extLst>
              <a:ext uri="{FF2B5EF4-FFF2-40B4-BE49-F238E27FC236}">
                <a16:creationId xmlns:a16="http://schemas.microsoft.com/office/drawing/2014/main" id="{7C40611E-3A51-447C-B4D9-E63571518EA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477655F7-9771-42CD-A3FF-9B0E744CD3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0708127-E14A-4909-821A-61F581AA127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356C80A-82E6-41A1-8315-DBCCD3E863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661CB1-3F0A-461E-B7EF-0DD8759D0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A13EE70-222E-4A80-9783-F68F00B7D3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97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529CB1A-1B72-48E4-9F89-031545C1FD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068A8D8B-EF5A-4905-83FB-5B545573C07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1A2E6BF4-8839-4971-8A92-E4187724BD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8A49F3C-B81B-486A-8AC6-0C685BBE02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01A53E6-C071-4F04-8874-C1213CB3BE6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295ABE6-9B30-4315-B16F-C7442D3C71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149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533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8.xml"/><Relationship Id="rId7" Type="http://schemas.openxmlformats.org/officeDocument/2006/relationships/tags" Target="../tags/tag19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3.xml"/><Relationship Id="rId7" Type="http://schemas.openxmlformats.org/officeDocument/2006/relationships/theme" Target="../theme/theme3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5.xml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54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3E5F61-96CF-4D57-91A0-4C70C3185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063864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73" imgH="473" progId="TCLayout.ActiveDocument.1">
                  <p:embed/>
                </p:oleObj>
              </mc:Choice>
              <mc:Fallback>
                <p:oleObj name="think-cell Slide" r:id="rId49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3E5F61-96CF-4D57-91A0-4C70C3185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04B8F8FD-286F-33E8-442B-E6638059E541}"/>
              </a:ext>
            </a:extLst>
          </p:cNvPr>
          <p:cNvPicPr/>
          <p:nvPr userDrawn="1"/>
        </p:nvPicPr>
        <p:blipFill rotWithShape="1"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9" r="44477"/>
          <a:stretch/>
        </p:blipFill>
        <p:spPr bwMode="auto">
          <a:xfrm>
            <a:off x="2529979" y="6086199"/>
            <a:ext cx="1909988" cy="6033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52BD58-20B9-7DDE-9F7B-157FF37B6BD4}"/>
              </a:ext>
            </a:extLst>
          </p:cNvPr>
          <p:cNvPicPr/>
          <p:nvPr userDrawn="1"/>
        </p:nvPicPr>
        <p:blipFill rotWithShape="1"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 t="9709" r="75336" b="12379"/>
          <a:stretch/>
        </p:blipFill>
        <p:spPr bwMode="auto">
          <a:xfrm>
            <a:off x="998400" y="6087559"/>
            <a:ext cx="1531579" cy="6019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2" descr="Υπουργείο Τουρισμού - Ministry of Tourism">
            <a:extLst>
              <a:ext uri="{FF2B5EF4-FFF2-40B4-BE49-F238E27FC236}">
                <a16:creationId xmlns:a16="http://schemas.microsoft.com/office/drawing/2014/main" id="{52CF0E09-0196-DE7E-7D03-C5DEDDB1792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4" b="33238"/>
          <a:stretch/>
        </p:blipFill>
        <p:spPr bwMode="auto">
          <a:xfrm>
            <a:off x="9804996" y="425425"/>
            <a:ext cx="1370881" cy="77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26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  <p15:guide id="7" orient="horz" pos="37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A21956-DDD7-495B-A362-317A825BC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1992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A21956-DDD7-495B-A362-317A825BC7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 dirty="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  <a:endParaRPr lang="en-GB" sz="600" b="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3245751-2641-E07B-8035-8A9220D9F77D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9" r="44477"/>
          <a:stretch/>
        </p:blipFill>
        <p:spPr bwMode="auto">
          <a:xfrm>
            <a:off x="2529979" y="6086199"/>
            <a:ext cx="1909988" cy="6033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6C352D4-5E05-E092-7A0D-3A1E44F3DF29}"/>
              </a:ext>
            </a:extLst>
          </p:cNvPr>
          <p:cNvPicPr/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 t="9709" r="75336" b="12379"/>
          <a:stretch/>
        </p:blipFill>
        <p:spPr bwMode="auto">
          <a:xfrm>
            <a:off x="998400" y="6087559"/>
            <a:ext cx="1531579" cy="6019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2" descr="Υπουργείο Τουρισμού - Ministry of Tourism">
            <a:extLst>
              <a:ext uri="{FF2B5EF4-FFF2-40B4-BE49-F238E27FC236}">
                <a16:creationId xmlns:a16="http://schemas.microsoft.com/office/drawing/2014/main" id="{A81DE178-D22C-F12A-9EB0-A0EDB6AED2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4" b="33238"/>
          <a:stretch/>
        </p:blipFill>
        <p:spPr bwMode="auto">
          <a:xfrm>
            <a:off x="9973708" y="431800"/>
            <a:ext cx="1215385" cy="68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52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9" r:id="rId4"/>
    <p:sldLayoutId id="2147483736" r:id="rId5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A21956-DDD7-495B-A362-317A825BC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81992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A21956-DDD7-495B-A362-317A825BC7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245751-2641-E07B-8035-8A9220D9F77D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9" r="44477"/>
          <a:stretch/>
        </p:blipFill>
        <p:spPr bwMode="auto">
          <a:xfrm>
            <a:off x="9286057" y="6082307"/>
            <a:ext cx="1909988" cy="6033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6C352D4-5E05-E092-7A0D-3A1E44F3DF29}"/>
              </a:ext>
            </a:extLst>
          </p:cNvPr>
          <p:cNvPicPr/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 t="9709" r="75336" b="12379"/>
          <a:stretch/>
        </p:blipFill>
        <p:spPr bwMode="auto">
          <a:xfrm>
            <a:off x="7754478" y="6083667"/>
            <a:ext cx="1531579" cy="6019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2" descr="Υπουργείο Τουρισμού - Ministry of Tourism">
            <a:extLst>
              <a:ext uri="{FF2B5EF4-FFF2-40B4-BE49-F238E27FC236}">
                <a16:creationId xmlns:a16="http://schemas.microsoft.com/office/drawing/2014/main" id="{A81DE178-D22C-F12A-9EB0-A0EDB6AED2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4" b="33238"/>
          <a:stretch/>
        </p:blipFill>
        <p:spPr bwMode="auto">
          <a:xfrm>
            <a:off x="892734" y="5997756"/>
            <a:ext cx="1215385" cy="68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707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22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B2B1D9-9417-4954-9ED8-9B0AF226EE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383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B2B1D9-9417-4954-9ED8-9B0AF226E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2E6177D-DED9-4485-9428-EB2F046E6B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2337" y="1468380"/>
            <a:ext cx="3551186" cy="3601506"/>
          </a:xfrm>
        </p:spPr>
        <p:txBody>
          <a:bodyPr vert="horz"/>
          <a:lstStyle/>
          <a:p>
            <a:r>
              <a:rPr lang="el-GR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  <a:t>Δρ</a:t>
            </a:r>
            <a:r>
              <a:rPr lang="el-GR" sz="3000" b="1" dirty="0">
                <a:latin typeface="KPMG Greek Bold" panose="020B0803030202040204" pitchFamily="34" charset="0"/>
                <a:cs typeface="Calibri Light" panose="020F0302020204030204" pitchFamily="34" charset="0"/>
              </a:rPr>
              <a:t>άση 16931</a:t>
            </a:r>
            <a:br>
              <a:rPr lang="el-GR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  <a:t>Sub </a:t>
            </a:r>
            <a:r>
              <a:rPr lang="el-GR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  <a:t>1</a:t>
            </a:r>
            <a:b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b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r>
              <a:rPr lang="el-GR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  <a:t>«Σχεδιασμός και ανάπτυξη πλατφόρμας και ιστοσελίδας Εθνικού Παρατηρητηρίου Βιώσιμης Τουριστικής Ανάπτυξης»</a:t>
            </a:r>
            <a:b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b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br>
              <a:rPr lang="en-US" sz="3000" b="1" cap="none" dirty="0">
                <a:latin typeface="KPMG Greek Bold" panose="020B0803030202040204" pitchFamily="34" charset="0"/>
                <a:cs typeface="Calibri Light" panose="020F0302020204030204" pitchFamily="34" charset="0"/>
              </a:rPr>
            </a:br>
            <a:br>
              <a:rPr lang="el-GR" sz="7200" b="1" cap="none" dirty="0"/>
            </a:br>
            <a:endParaRPr lang="el-GR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C80D202-4188-4287-A12A-3DC65D66F991}"/>
              </a:ext>
            </a:extLst>
          </p:cNvPr>
          <p:cNvGrpSpPr/>
          <p:nvPr/>
        </p:nvGrpSpPr>
        <p:grpSpPr>
          <a:xfrm>
            <a:off x="1019829" y="1330325"/>
            <a:ext cx="5199220" cy="2955108"/>
            <a:chOff x="887506" y="1494804"/>
            <a:chExt cx="7422776" cy="4192994"/>
          </a:xfrm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C0A7B98C-8C0E-4227-94A3-4AAA0B2B8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883" y="1728323"/>
              <a:ext cx="2226768" cy="736696"/>
            </a:xfrm>
            <a:custGeom>
              <a:avLst/>
              <a:gdLst>
                <a:gd name="T0" fmla="*/ 1420 w 1751"/>
                <a:gd name="T1" fmla="*/ 387 h 579"/>
                <a:gd name="T2" fmla="*/ 1063 w 1751"/>
                <a:gd name="T3" fmla="*/ 209 h 579"/>
                <a:gd name="T4" fmla="*/ 415 w 1751"/>
                <a:gd name="T5" fmla="*/ 382 h 579"/>
                <a:gd name="T6" fmla="*/ 0 w 1751"/>
                <a:gd name="T7" fmla="*/ 579 h 579"/>
                <a:gd name="T8" fmla="*/ 1751 w 1751"/>
                <a:gd name="T9" fmla="*/ 579 h 579"/>
                <a:gd name="T10" fmla="*/ 1420 w 1751"/>
                <a:gd name="T11" fmla="*/ 387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1" h="579">
                  <a:moveTo>
                    <a:pt x="1420" y="387"/>
                  </a:moveTo>
                  <a:cubicBezTo>
                    <a:pt x="1394" y="255"/>
                    <a:pt x="1283" y="175"/>
                    <a:pt x="1063" y="209"/>
                  </a:cubicBezTo>
                  <a:cubicBezTo>
                    <a:pt x="832" y="0"/>
                    <a:pt x="456" y="134"/>
                    <a:pt x="415" y="382"/>
                  </a:cubicBezTo>
                  <a:cubicBezTo>
                    <a:pt x="101" y="352"/>
                    <a:pt x="0" y="468"/>
                    <a:pt x="0" y="579"/>
                  </a:cubicBezTo>
                  <a:cubicBezTo>
                    <a:pt x="205" y="579"/>
                    <a:pt x="1550" y="579"/>
                    <a:pt x="1751" y="579"/>
                  </a:cubicBezTo>
                  <a:cubicBezTo>
                    <a:pt x="1740" y="446"/>
                    <a:pt x="1583" y="375"/>
                    <a:pt x="1420" y="3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B80DE51F-4329-403D-BC34-5B65885FE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555" y="2923206"/>
              <a:ext cx="1177324" cy="1178714"/>
            </a:xfrm>
            <a:prstGeom prst="ellipse">
              <a:avLst/>
            </a:prstGeom>
            <a:solidFill>
              <a:srgbClr val="BC2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8BEFA7E-05B4-4800-A5B0-3A93E864D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7519" y="2355270"/>
              <a:ext cx="2388007" cy="2389398"/>
            </a:xfrm>
            <a:prstGeom prst="ellipse">
              <a:avLst/>
            </a:prstGeom>
            <a:solidFill>
              <a:srgbClr val="483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005B5C1-1072-4B2B-AC6E-8AE689B1793A}"/>
                </a:ext>
              </a:extLst>
            </p:cNvPr>
            <p:cNvSpPr/>
            <p:nvPr/>
          </p:nvSpPr>
          <p:spPr>
            <a:xfrm>
              <a:off x="5351929" y="5306717"/>
              <a:ext cx="2958353" cy="381081"/>
            </a:xfrm>
            <a:prstGeom prst="ellipse">
              <a:avLst/>
            </a:prstGeom>
            <a:solidFill>
              <a:srgbClr val="005EB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9581E33-64EC-429A-9629-4FFCFDB025F7}"/>
                </a:ext>
              </a:extLst>
            </p:cNvPr>
            <p:cNvSpPr/>
            <p:nvPr/>
          </p:nvSpPr>
          <p:spPr>
            <a:xfrm>
              <a:off x="887506" y="5282311"/>
              <a:ext cx="2165371" cy="381081"/>
            </a:xfrm>
            <a:prstGeom prst="ellipse">
              <a:avLst/>
            </a:prstGeom>
            <a:solidFill>
              <a:srgbClr val="005EB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35506BB2-3F21-4E3C-927D-F4CA8C155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739" y="4869706"/>
              <a:ext cx="1473392" cy="22517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8">
              <a:extLst>
                <a:ext uri="{FF2B5EF4-FFF2-40B4-BE49-F238E27FC236}">
                  <a16:creationId xmlns:a16="http://schemas.microsoft.com/office/drawing/2014/main" id="{8E7F5BDF-DE11-4B0B-8C74-1E8C9BD51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7872" y="5094885"/>
              <a:ext cx="1473392" cy="22378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8ADA8CAD-4C41-40AF-8579-E16131B20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4091" y="5318674"/>
              <a:ext cx="1473392" cy="22517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Oval 10">
              <a:extLst>
                <a:ext uri="{FF2B5EF4-FFF2-40B4-BE49-F238E27FC236}">
                  <a16:creationId xmlns:a16="http://schemas.microsoft.com/office/drawing/2014/main" id="{A3F03BE0-921D-4772-ACB0-7038835CF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6767" y="1555144"/>
              <a:ext cx="3990669" cy="39920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238F868-43DF-4CF9-8872-489490B0E8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0087" y="1498974"/>
              <a:ext cx="4025418" cy="4028198"/>
            </a:xfrm>
            <a:custGeom>
              <a:avLst/>
              <a:gdLst>
                <a:gd name="T0" fmla="*/ 1582 w 3165"/>
                <a:gd name="T1" fmla="*/ 3166 h 3166"/>
                <a:gd name="T2" fmla="*/ 463 w 3165"/>
                <a:gd name="T3" fmla="*/ 2702 h 3166"/>
                <a:gd name="T4" fmla="*/ 0 w 3165"/>
                <a:gd name="T5" fmla="*/ 1583 h 3166"/>
                <a:gd name="T6" fmla="*/ 463 w 3165"/>
                <a:gd name="T7" fmla="*/ 464 h 3166"/>
                <a:gd name="T8" fmla="*/ 1582 w 3165"/>
                <a:gd name="T9" fmla="*/ 0 h 3166"/>
                <a:gd name="T10" fmla="*/ 2701 w 3165"/>
                <a:gd name="T11" fmla="*/ 464 h 3166"/>
                <a:gd name="T12" fmla="*/ 3165 w 3165"/>
                <a:gd name="T13" fmla="*/ 1583 h 3166"/>
                <a:gd name="T14" fmla="*/ 2701 w 3165"/>
                <a:gd name="T15" fmla="*/ 2702 h 3166"/>
                <a:gd name="T16" fmla="*/ 1582 w 3165"/>
                <a:gd name="T17" fmla="*/ 3166 h 3166"/>
                <a:gd name="T18" fmla="*/ 1582 w 3165"/>
                <a:gd name="T19" fmla="*/ 27 h 3166"/>
                <a:gd name="T20" fmla="*/ 27 w 3165"/>
                <a:gd name="T21" fmla="*/ 1583 h 3166"/>
                <a:gd name="T22" fmla="*/ 1582 w 3165"/>
                <a:gd name="T23" fmla="*/ 3138 h 3166"/>
                <a:gd name="T24" fmla="*/ 3138 w 3165"/>
                <a:gd name="T25" fmla="*/ 1583 h 3166"/>
                <a:gd name="T26" fmla="*/ 1582 w 3165"/>
                <a:gd name="T27" fmla="*/ 27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65" h="3166">
                  <a:moveTo>
                    <a:pt x="1582" y="3166"/>
                  </a:moveTo>
                  <a:cubicBezTo>
                    <a:pt x="1160" y="3166"/>
                    <a:pt x="762" y="3001"/>
                    <a:pt x="463" y="2702"/>
                  </a:cubicBezTo>
                  <a:cubicBezTo>
                    <a:pt x="164" y="2403"/>
                    <a:pt x="0" y="2006"/>
                    <a:pt x="0" y="1583"/>
                  </a:cubicBezTo>
                  <a:cubicBezTo>
                    <a:pt x="0" y="1160"/>
                    <a:pt x="164" y="763"/>
                    <a:pt x="463" y="464"/>
                  </a:cubicBezTo>
                  <a:cubicBezTo>
                    <a:pt x="762" y="165"/>
                    <a:pt x="1160" y="0"/>
                    <a:pt x="1582" y="0"/>
                  </a:cubicBezTo>
                  <a:cubicBezTo>
                    <a:pt x="2005" y="0"/>
                    <a:pt x="2402" y="165"/>
                    <a:pt x="2701" y="464"/>
                  </a:cubicBezTo>
                  <a:cubicBezTo>
                    <a:pt x="3000" y="763"/>
                    <a:pt x="3165" y="1160"/>
                    <a:pt x="3165" y="1583"/>
                  </a:cubicBezTo>
                  <a:cubicBezTo>
                    <a:pt x="3165" y="2006"/>
                    <a:pt x="3000" y="2403"/>
                    <a:pt x="2701" y="2702"/>
                  </a:cubicBezTo>
                  <a:cubicBezTo>
                    <a:pt x="2402" y="3001"/>
                    <a:pt x="2005" y="3166"/>
                    <a:pt x="1582" y="3166"/>
                  </a:cubicBezTo>
                  <a:close/>
                  <a:moveTo>
                    <a:pt x="1582" y="27"/>
                  </a:moveTo>
                  <a:cubicBezTo>
                    <a:pt x="725" y="27"/>
                    <a:pt x="27" y="725"/>
                    <a:pt x="27" y="1583"/>
                  </a:cubicBezTo>
                  <a:cubicBezTo>
                    <a:pt x="27" y="2441"/>
                    <a:pt x="725" y="3138"/>
                    <a:pt x="1582" y="3138"/>
                  </a:cubicBezTo>
                  <a:cubicBezTo>
                    <a:pt x="2440" y="3138"/>
                    <a:pt x="3138" y="2441"/>
                    <a:pt x="3138" y="1583"/>
                  </a:cubicBezTo>
                  <a:cubicBezTo>
                    <a:pt x="3138" y="725"/>
                    <a:pt x="2440" y="27"/>
                    <a:pt x="1582" y="27"/>
                  </a:cubicBezTo>
                  <a:close/>
                </a:path>
              </a:pathLst>
            </a:custGeom>
            <a:solidFill>
              <a:srgbClr val="470A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12">
              <a:extLst>
                <a:ext uri="{FF2B5EF4-FFF2-40B4-BE49-F238E27FC236}">
                  <a16:creationId xmlns:a16="http://schemas.microsoft.com/office/drawing/2014/main" id="{7525B615-3D34-438F-8453-A11436CE0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5535" y="1715813"/>
              <a:ext cx="3591740" cy="3593131"/>
            </a:xfrm>
            <a:prstGeom prst="ellipse">
              <a:avLst/>
            </a:prstGeom>
            <a:solidFill>
              <a:srgbClr val="6D2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7BAEDFEE-0424-4FFB-91B5-5575F4263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8856" y="1699133"/>
              <a:ext cx="3626491" cy="3627880"/>
            </a:xfrm>
            <a:custGeom>
              <a:avLst/>
              <a:gdLst>
                <a:gd name="T0" fmla="*/ 1425 w 2851"/>
                <a:gd name="T1" fmla="*/ 2852 h 2852"/>
                <a:gd name="T2" fmla="*/ 417 w 2851"/>
                <a:gd name="T3" fmla="*/ 2434 h 2852"/>
                <a:gd name="T4" fmla="*/ 0 w 2851"/>
                <a:gd name="T5" fmla="*/ 1426 h 2852"/>
                <a:gd name="T6" fmla="*/ 417 w 2851"/>
                <a:gd name="T7" fmla="*/ 418 h 2852"/>
                <a:gd name="T8" fmla="*/ 1425 w 2851"/>
                <a:gd name="T9" fmla="*/ 0 h 2852"/>
                <a:gd name="T10" fmla="*/ 2433 w 2851"/>
                <a:gd name="T11" fmla="*/ 418 h 2852"/>
                <a:gd name="T12" fmla="*/ 2851 w 2851"/>
                <a:gd name="T13" fmla="*/ 1426 h 2852"/>
                <a:gd name="T14" fmla="*/ 2433 w 2851"/>
                <a:gd name="T15" fmla="*/ 2434 h 2852"/>
                <a:gd name="T16" fmla="*/ 1425 w 2851"/>
                <a:gd name="T17" fmla="*/ 2852 h 2852"/>
                <a:gd name="T18" fmla="*/ 1425 w 2851"/>
                <a:gd name="T19" fmla="*/ 27 h 2852"/>
                <a:gd name="T20" fmla="*/ 27 w 2851"/>
                <a:gd name="T21" fmla="*/ 1426 h 2852"/>
                <a:gd name="T22" fmla="*/ 1425 w 2851"/>
                <a:gd name="T23" fmla="*/ 2824 h 2852"/>
                <a:gd name="T24" fmla="*/ 2824 w 2851"/>
                <a:gd name="T25" fmla="*/ 1426 h 2852"/>
                <a:gd name="T26" fmla="*/ 1425 w 2851"/>
                <a:gd name="T27" fmla="*/ 27 h 2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51" h="2852">
                  <a:moveTo>
                    <a:pt x="1425" y="2852"/>
                  </a:moveTo>
                  <a:cubicBezTo>
                    <a:pt x="1045" y="2852"/>
                    <a:pt x="686" y="2703"/>
                    <a:pt x="417" y="2434"/>
                  </a:cubicBezTo>
                  <a:cubicBezTo>
                    <a:pt x="148" y="2165"/>
                    <a:pt x="0" y="1807"/>
                    <a:pt x="0" y="1426"/>
                  </a:cubicBezTo>
                  <a:cubicBezTo>
                    <a:pt x="0" y="1045"/>
                    <a:pt x="148" y="687"/>
                    <a:pt x="417" y="418"/>
                  </a:cubicBezTo>
                  <a:cubicBezTo>
                    <a:pt x="686" y="149"/>
                    <a:pt x="1045" y="0"/>
                    <a:pt x="1425" y="0"/>
                  </a:cubicBezTo>
                  <a:cubicBezTo>
                    <a:pt x="1806" y="0"/>
                    <a:pt x="2164" y="149"/>
                    <a:pt x="2433" y="418"/>
                  </a:cubicBezTo>
                  <a:cubicBezTo>
                    <a:pt x="2703" y="687"/>
                    <a:pt x="2851" y="1045"/>
                    <a:pt x="2851" y="1426"/>
                  </a:cubicBezTo>
                  <a:cubicBezTo>
                    <a:pt x="2851" y="1807"/>
                    <a:pt x="2703" y="2165"/>
                    <a:pt x="2433" y="2434"/>
                  </a:cubicBezTo>
                  <a:cubicBezTo>
                    <a:pt x="2164" y="2703"/>
                    <a:pt x="1806" y="2852"/>
                    <a:pt x="1425" y="2852"/>
                  </a:cubicBezTo>
                  <a:close/>
                  <a:moveTo>
                    <a:pt x="1425" y="27"/>
                  </a:moveTo>
                  <a:cubicBezTo>
                    <a:pt x="654" y="27"/>
                    <a:pt x="27" y="655"/>
                    <a:pt x="27" y="1426"/>
                  </a:cubicBezTo>
                  <a:cubicBezTo>
                    <a:pt x="27" y="2197"/>
                    <a:pt x="654" y="2824"/>
                    <a:pt x="1425" y="2824"/>
                  </a:cubicBezTo>
                  <a:cubicBezTo>
                    <a:pt x="2196" y="2824"/>
                    <a:pt x="2824" y="2197"/>
                    <a:pt x="2824" y="1426"/>
                  </a:cubicBezTo>
                  <a:cubicBezTo>
                    <a:pt x="2824" y="655"/>
                    <a:pt x="2196" y="27"/>
                    <a:pt x="142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14">
              <a:extLst>
                <a:ext uri="{FF2B5EF4-FFF2-40B4-BE49-F238E27FC236}">
                  <a16:creationId xmlns:a16="http://schemas.microsoft.com/office/drawing/2014/main" id="{732FFB35-9A21-4A13-9095-A588E5690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853" y="2116131"/>
              <a:ext cx="2793885" cy="279388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BA150272-F95D-46AA-8F94-A9E73B8DF5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7784" y="2098061"/>
              <a:ext cx="2828635" cy="2830025"/>
            </a:xfrm>
            <a:custGeom>
              <a:avLst/>
              <a:gdLst>
                <a:gd name="T0" fmla="*/ 1112 w 2224"/>
                <a:gd name="T1" fmla="*/ 2224 h 2224"/>
                <a:gd name="T2" fmla="*/ 0 w 2224"/>
                <a:gd name="T3" fmla="*/ 1112 h 2224"/>
                <a:gd name="T4" fmla="*/ 1112 w 2224"/>
                <a:gd name="T5" fmla="*/ 0 h 2224"/>
                <a:gd name="T6" fmla="*/ 2224 w 2224"/>
                <a:gd name="T7" fmla="*/ 1112 h 2224"/>
                <a:gd name="T8" fmla="*/ 1112 w 2224"/>
                <a:gd name="T9" fmla="*/ 2224 h 2224"/>
                <a:gd name="T10" fmla="*/ 1112 w 2224"/>
                <a:gd name="T11" fmla="*/ 27 h 2224"/>
                <a:gd name="T12" fmla="*/ 28 w 2224"/>
                <a:gd name="T13" fmla="*/ 1112 h 2224"/>
                <a:gd name="T14" fmla="*/ 1112 w 2224"/>
                <a:gd name="T15" fmla="*/ 2197 h 2224"/>
                <a:gd name="T16" fmla="*/ 2197 w 2224"/>
                <a:gd name="T17" fmla="*/ 1112 h 2224"/>
                <a:gd name="T18" fmla="*/ 1112 w 2224"/>
                <a:gd name="T19" fmla="*/ 27 h 2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4" h="2224">
                  <a:moveTo>
                    <a:pt x="1112" y="2224"/>
                  </a:moveTo>
                  <a:cubicBezTo>
                    <a:pt x="499" y="2224"/>
                    <a:pt x="0" y="1725"/>
                    <a:pt x="0" y="1112"/>
                  </a:cubicBezTo>
                  <a:cubicBezTo>
                    <a:pt x="0" y="499"/>
                    <a:pt x="499" y="0"/>
                    <a:pt x="1112" y="0"/>
                  </a:cubicBezTo>
                  <a:cubicBezTo>
                    <a:pt x="1725" y="0"/>
                    <a:pt x="2224" y="499"/>
                    <a:pt x="2224" y="1112"/>
                  </a:cubicBezTo>
                  <a:cubicBezTo>
                    <a:pt x="2224" y="1725"/>
                    <a:pt x="1725" y="2224"/>
                    <a:pt x="1112" y="2224"/>
                  </a:cubicBezTo>
                  <a:close/>
                  <a:moveTo>
                    <a:pt x="1112" y="27"/>
                  </a:moveTo>
                  <a:cubicBezTo>
                    <a:pt x="514" y="27"/>
                    <a:pt x="28" y="514"/>
                    <a:pt x="28" y="1112"/>
                  </a:cubicBezTo>
                  <a:cubicBezTo>
                    <a:pt x="28" y="1710"/>
                    <a:pt x="514" y="2197"/>
                    <a:pt x="1112" y="2197"/>
                  </a:cubicBezTo>
                  <a:cubicBezTo>
                    <a:pt x="1710" y="2197"/>
                    <a:pt x="2197" y="1710"/>
                    <a:pt x="2197" y="1112"/>
                  </a:cubicBezTo>
                  <a:cubicBezTo>
                    <a:pt x="2197" y="514"/>
                    <a:pt x="1710" y="27"/>
                    <a:pt x="1112" y="27"/>
                  </a:cubicBezTo>
                  <a:close/>
                </a:path>
              </a:pathLst>
            </a:custGeom>
            <a:solidFill>
              <a:srgbClr val="6D2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Oval 16">
              <a:extLst>
                <a:ext uri="{FF2B5EF4-FFF2-40B4-BE49-F238E27FC236}">
                  <a16:creationId xmlns:a16="http://schemas.microsoft.com/office/drawing/2014/main" id="{B8B87794-D125-4E6D-85E6-29BEA9A20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7403" y="2355780"/>
              <a:ext cx="2388007" cy="2389398"/>
            </a:xfrm>
            <a:prstGeom prst="ellipse">
              <a:avLst/>
            </a:prstGeom>
            <a:solidFill>
              <a:srgbClr val="483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9F922A5B-D69A-401F-86C0-7323B908CF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0723" y="2301000"/>
              <a:ext cx="2422757" cy="2424147"/>
            </a:xfrm>
            <a:custGeom>
              <a:avLst/>
              <a:gdLst>
                <a:gd name="T0" fmla="*/ 952 w 1905"/>
                <a:gd name="T1" fmla="*/ 1906 h 1906"/>
                <a:gd name="T2" fmla="*/ 0 w 1905"/>
                <a:gd name="T3" fmla="*/ 953 h 1906"/>
                <a:gd name="T4" fmla="*/ 952 w 1905"/>
                <a:gd name="T5" fmla="*/ 0 h 1906"/>
                <a:gd name="T6" fmla="*/ 1905 w 1905"/>
                <a:gd name="T7" fmla="*/ 953 h 1906"/>
                <a:gd name="T8" fmla="*/ 952 w 1905"/>
                <a:gd name="T9" fmla="*/ 1906 h 1906"/>
                <a:gd name="T10" fmla="*/ 952 w 1905"/>
                <a:gd name="T11" fmla="*/ 27 h 1906"/>
                <a:gd name="T12" fmla="*/ 27 w 1905"/>
                <a:gd name="T13" fmla="*/ 953 h 1906"/>
                <a:gd name="T14" fmla="*/ 952 w 1905"/>
                <a:gd name="T15" fmla="*/ 1878 h 1906"/>
                <a:gd name="T16" fmla="*/ 1878 w 1905"/>
                <a:gd name="T17" fmla="*/ 953 h 1906"/>
                <a:gd name="T18" fmla="*/ 952 w 1905"/>
                <a:gd name="T19" fmla="*/ 27 h 1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5" h="1906">
                  <a:moveTo>
                    <a:pt x="952" y="1906"/>
                  </a:moveTo>
                  <a:cubicBezTo>
                    <a:pt x="427" y="1906"/>
                    <a:pt x="0" y="1478"/>
                    <a:pt x="0" y="953"/>
                  </a:cubicBezTo>
                  <a:cubicBezTo>
                    <a:pt x="0" y="428"/>
                    <a:pt x="427" y="0"/>
                    <a:pt x="952" y="0"/>
                  </a:cubicBezTo>
                  <a:cubicBezTo>
                    <a:pt x="1478" y="0"/>
                    <a:pt x="1905" y="428"/>
                    <a:pt x="1905" y="953"/>
                  </a:cubicBezTo>
                  <a:cubicBezTo>
                    <a:pt x="1905" y="1478"/>
                    <a:pt x="1478" y="1906"/>
                    <a:pt x="952" y="1906"/>
                  </a:cubicBezTo>
                  <a:close/>
                  <a:moveTo>
                    <a:pt x="952" y="27"/>
                  </a:moveTo>
                  <a:cubicBezTo>
                    <a:pt x="442" y="27"/>
                    <a:pt x="27" y="443"/>
                    <a:pt x="27" y="953"/>
                  </a:cubicBezTo>
                  <a:cubicBezTo>
                    <a:pt x="27" y="1463"/>
                    <a:pt x="442" y="1878"/>
                    <a:pt x="952" y="1878"/>
                  </a:cubicBezTo>
                  <a:cubicBezTo>
                    <a:pt x="1463" y="1878"/>
                    <a:pt x="1878" y="1463"/>
                    <a:pt x="1878" y="953"/>
                  </a:cubicBezTo>
                  <a:cubicBezTo>
                    <a:pt x="1878" y="443"/>
                    <a:pt x="1463" y="27"/>
                    <a:pt x="952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18">
              <a:extLst>
                <a:ext uri="{FF2B5EF4-FFF2-40B4-BE49-F238E27FC236}">
                  <a16:creationId xmlns:a16="http://schemas.microsoft.com/office/drawing/2014/main" id="{0AB2FD7D-8B13-4795-8579-7E9D19B93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3280" y="2723557"/>
              <a:ext cx="1579031" cy="1579032"/>
            </a:xfrm>
            <a:prstGeom prst="ellipse">
              <a:avLst/>
            </a:prstGeom>
            <a:solidFill>
              <a:srgbClr val="483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71573560-EEB1-46A5-A90C-3B233EB1DD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5210" y="2706877"/>
              <a:ext cx="1613782" cy="1612391"/>
            </a:xfrm>
            <a:custGeom>
              <a:avLst/>
              <a:gdLst>
                <a:gd name="T0" fmla="*/ 634 w 1269"/>
                <a:gd name="T1" fmla="*/ 1268 h 1268"/>
                <a:gd name="T2" fmla="*/ 0 w 1269"/>
                <a:gd name="T3" fmla="*/ 634 h 1268"/>
                <a:gd name="T4" fmla="*/ 634 w 1269"/>
                <a:gd name="T5" fmla="*/ 0 h 1268"/>
                <a:gd name="T6" fmla="*/ 1269 w 1269"/>
                <a:gd name="T7" fmla="*/ 634 h 1268"/>
                <a:gd name="T8" fmla="*/ 634 w 1269"/>
                <a:gd name="T9" fmla="*/ 1268 h 1268"/>
                <a:gd name="T10" fmla="*/ 634 w 1269"/>
                <a:gd name="T11" fmla="*/ 27 h 1268"/>
                <a:gd name="T12" fmla="*/ 27 w 1269"/>
                <a:gd name="T13" fmla="*/ 634 h 1268"/>
                <a:gd name="T14" fmla="*/ 634 w 1269"/>
                <a:gd name="T15" fmla="*/ 1241 h 1268"/>
                <a:gd name="T16" fmla="*/ 1242 w 1269"/>
                <a:gd name="T17" fmla="*/ 634 h 1268"/>
                <a:gd name="T18" fmla="*/ 634 w 1269"/>
                <a:gd name="T19" fmla="*/ 27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9" h="1268">
                  <a:moveTo>
                    <a:pt x="634" y="1268"/>
                  </a:moveTo>
                  <a:cubicBezTo>
                    <a:pt x="285" y="1268"/>
                    <a:pt x="0" y="984"/>
                    <a:pt x="0" y="634"/>
                  </a:cubicBezTo>
                  <a:cubicBezTo>
                    <a:pt x="0" y="284"/>
                    <a:pt x="285" y="0"/>
                    <a:pt x="634" y="0"/>
                  </a:cubicBezTo>
                  <a:cubicBezTo>
                    <a:pt x="984" y="0"/>
                    <a:pt x="1269" y="284"/>
                    <a:pt x="1269" y="634"/>
                  </a:cubicBezTo>
                  <a:cubicBezTo>
                    <a:pt x="1269" y="984"/>
                    <a:pt x="984" y="1268"/>
                    <a:pt x="634" y="1268"/>
                  </a:cubicBezTo>
                  <a:close/>
                  <a:moveTo>
                    <a:pt x="634" y="27"/>
                  </a:moveTo>
                  <a:cubicBezTo>
                    <a:pt x="299" y="27"/>
                    <a:pt x="27" y="299"/>
                    <a:pt x="27" y="634"/>
                  </a:cubicBezTo>
                  <a:cubicBezTo>
                    <a:pt x="27" y="969"/>
                    <a:pt x="299" y="1241"/>
                    <a:pt x="634" y="1241"/>
                  </a:cubicBezTo>
                  <a:cubicBezTo>
                    <a:pt x="969" y="1241"/>
                    <a:pt x="1242" y="969"/>
                    <a:pt x="1242" y="634"/>
                  </a:cubicBezTo>
                  <a:cubicBezTo>
                    <a:pt x="1242" y="299"/>
                    <a:pt x="969" y="27"/>
                    <a:pt x="634" y="27"/>
                  </a:cubicBezTo>
                  <a:close/>
                </a:path>
              </a:pathLst>
            </a:custGeom>
            <a:solidFill>
              <a:srgbClr val="483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Oval 20">
              <a:extLst>
                <a:ext uri="{FF2B5EF4-FFF2-40B4-BE49-F238E27FC236}">
                  <a16:creationId xmlns:a16="http://schemas.microsoft.com/office/drawing/2014/main" id="{FD6D5B33-FBDB-4304-82C5-8E0FFC961C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439" y="2923716"/>
              <a:ext cx="1177324" cy="1178714"/>
            </a:xfrm>
            <a:prstGeom prst="ellipse">
              <a:avLst/>
            </a:prstGeom>
            <a:solidFill>
              <a:srgbClr val="6D2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9E4A24B2-1F75-4B92-8A90-E217E92B7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6759" y="2905647"/>
              <a:ext cx="1212073" cy="1213464"/>
            </a:xfrm>
            <a:custGeom>
              <a:avLst/>
              <a:gdLst>
                <a:gd name="T0" fmla="*/ 476 w 953"/>
                <a:gd name="T1" fmla="*/ 953 h 953"/>
                <a:gd name="T2" fmla="*/ 0 w 953"/>
                <a:gd name="T3" fmla="*/ 477 h 953"/>
                <a:gd name="T4" fmla="*/ 476 w 953"/>
                <a:gd name="T5" fmla="*/ 0 h 953"/>
                <a:gd name="T6" fmla="*/ 953 w 953"/>
                <a:gd name="T7" fmla="*/ 477 h 953"/>
                <a:gd name="T8" fmla="*/ 476 w 953"/>
                <a:gd name="T9" fmla="*/ 953 h 953"/>
                <a:gd name="T10" fmla="*/ 476 w 953"/>
                <a:gd name="T11" fmla="*/ 28 h 953"/>
                <a:gd name="T12" fmla="*/ 27 w 953"/>
                <a:gd name="T13" fmla="*/ 477 h 953"/>
                <a:gd name="T14" fmla="*/ 476 w 953"/>
                <a:gd name="T15" fmla="*/ 926 h 953"/>
                <a:gd name="T16" fmla="*/ 926 w 953"/>
                <a:gd name="T17" fmla="*/ 477 h 953"/>
                <a:gd name="T18" fmla="*/ 476 w 953"/>
                <a:gd name="T19" fmla="*/ 28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3" h="953">
                  <a:moveTo>
                    <a:pt x="476" y="953"/>
                  </a:moveTo>
                  <a:cubicBezTo>
                    <a:pt x="214" y="953"/>
                    <a:pt x="0" y="740"/>
                    <a:pt x="0" y="477"/>
                  </a:cubicBezTo>
                  <a:cubicBezTo>
                    <a:pt x="0" y="214"/>
                    <a:pt x="214" y="0"/>
                    <a:pt x="476" y="0"/>
                  </a:cubicBezTo>
                  <a:cubicBezTo>
                    <a:pt x="739" y="0"/>
                    <a:pt x="953" y="214"/>
                    <a:pt x="953" y="477"/>
                  </a:cubicBezTo>
                  <a:cubicBezTo>
                    <a:pt x="953" y="740"/>
                    <a:pt x="739" y="953"/>
                    <a:pt x="476" y="953"/>
                  </a:cubicBezTo>
                  <a:close/>
                  <a:moveTo>
                    <a:pt x="476" y="28"/>
                  </a:moveTo>
                  <a:cubicBezTo>
                    <a:pt x="229" y="28"/>
                    <a:pt x="27" y="229"/>
                    <a:pt x="27" y="477"/>
                  </a:cubicBezTo>
                  <a:cubicBezTo>
                    <a:pt x="27" y="725"/>
                    <a:pt x="229" y="926"/>
                    <a:pt x="476" y="926"/>
                  </a:cubicBezTo>
                  <a:cubicBezTo>
                    <a:pt x="724" y="926"/>
                    <a:pt x="926" y="725"/>
                    <a:pt x="926" y="477"/>
                  </a:cubicBezTo>
                  <a:cubicBezTo>
                    <a:pt x="926" y="229"/>
                    <a:pt x="724" y="28"/>
                    <a:pt x="476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F164E2A-D40E-41AF-91BE-FDBCDD528A34}"/>
                </a:ext>
              </a:extLst>
            </p:cNvPr>
            <p:cNvGrpSpPr/>
            <p:nvPr/>
          </p:nvGrpSpPr>
          <p:grpSpPr>
            <a:xfrm>
              <a:off x="2092779" y="3059116"/>
              <a:ext cx="833996" cy="2528397"/>
              <a:chOff x="3386006" y="3212824"/>
              <a:chExt cx="833996" cy="2528397"/>
            </a:xfrm>
          </p:grpSpPr>
          <p:sp>
            <p:nvSpPr>
              <p:cNvPr id="117" name="Freeform 26">
                <a:extLst>
                  <a:ext uri="{FF2B5EF4-FFF2-40B4-BE49-F238E27FC236}">
                    <a16:creationId xmlns:a16="http://schemas.microsoft.com/office/drawing/2014/main" id="{9B05244E-5CE6-4447-842C-74EABA431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8056" y="4299798"/>
                <a:ext cx="519857" cy="860406"/>
              </a:xfrm>
              <a:custGeom>
                <a:avLst/>
                <a:gdLst>
                  <a:gd name="T0" fmla="*/ 374 w 374"/>
                  <a:gd name="T1" fmla="*/ 235 h 619"/>
                  <a:gd name="T2" fmla="*/ 372 w 374"/>
                  <a:gd name="T3" fmla="*/ 123 h 619"/>
                  <a:gd name="T4" fmla="*/ 355 w 374"/>
                  <a:gd name="T5" fmla="*/ 10 h 619"/>
                  <a:gd name="T6" fmla="*/ 40 w 374"/>
                  <a:gd name="T7" fmla="*/ 0 h 619"/>
                  <a:gd name="T8" fmla="*/ 10 w 374"/>
                  <a:gd name="T9" fmla="*/ 145 h 619"/>
                  <a:gd name="T10" fmla="*/ 0 w 374"/>
                  <a:gd name="T11" fmla="*/ 235 h 619"/>
                  <a:gd name="T12" fmla="*/ 33 w 374"/>
                  <a:gd name="T13" fmla="*/ 566 h 619"/>
                  <a:gd name="T14" fmla="*/ 140 w 374"/>
                  <a:gd name="T15" fmla="*/ 614 h 619"/>
                  <a:gd name="T16" fmla="*/ 169 w 374"/>
                  <a:gd name="T17" fmla="*/ 544 h 619"/>
                  <a:gd name="T18" fmla="*/ 162 w 374"/>
                  <a:gd name="T19" fmla="*/ 507 h 619"/>
                  <a:gd name="T20" fmla="*/ 195 w 374"/>
                  <a:gd name="T21" fmla="*/ 235 h 619"/>
                  <a:gd name="T22" fmla="*/ 212 w 374"/>
                  <a:gd name="T23" fmla="*/ 546 h 619"/>
                  <a:gd name="T24" fmla="*/ 313 w 374"/>
                  <a:gd name="T25" fmla="*/ 619 h 619"/>
                  <a:gd name="T26" fmla="*/ 342 w 374"/>
                  <a:gd name="T27" fmla="*/ 550 h 619"/>
                  <a:gd name="T28" fmla="*/ 335 w 374"/>
                  <a:gd name="T29" fmla="*/ 511 h 619"/>
                  <a:gd name="T30" fmla="*/ 374 w 374"/>
                  <a:gd name="T31" fmla="*/ 235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4" h="619">
                    <a:moveTo>
                      <a:pt x="374" y="235"/>
                    </a:moveTo>
                    <a:lnTo>
                      <a:pt x="372" y="123"/>
                    </a:lnTo>
                    <a:lnTo>
                      <a:pt x="355" y="10"/>
                    </a:lnTo>
                    <a:lnTo>
                      <a:pt x="40" y="0"/>
                    </a:lnTo>
                    <a:lnTo>
                      <a:pt x="10" y="145"/>
                    </a:lnTo>
                    <a:lnTo>
                      <a:pt x="0" y="235"/>
                    </a:lnTo>
                    <a:lnTo>
                      <a:pt x="33" y="566"/>
                    </a:lnTo>
                    <a:lnTo>
                      <a:pt x="140" y="614"/>
                    </a:lnTo>
                    <a:lnTo>
                      <a:pt x="169" y="544"/>
                    </a:lnTo>
                    <a:lnTo>
                      <a:pt x="162" y="507"/>
                    </a:lnTo>
                    <a:lnTo>
                      <a:pt x="195" y="235"/>
                    </a:lnTo>
                    <a:lnTo>
                      <a:pt x="212" y="546"/>
                    </a:lnTo>
                    <a:lnTo>
                      <a:pt x="313" y="619"/>
                    </a:lnTo>
                    <a:lnTo>
                      <a:pt x="342" y="550"/>
                    </a:lnTo>
                    <a:lnTo>
                      <a:pt x="335" y="511"/>
                    </a:lnTo>
                    <a:lnTo>
                      <a:pt x="374" y="235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Freeform 27">
                <a:extLst>
                  <a:ext uri="{FF2B5EF4-FFF2-40B4-BE49-F238E27FC236}">
                    <a16:creationId xmlns:a16="http://schemas.microsoft.com/office/drawing/2014/main" id="{A3A59BBA-5866-454D-A744-487F804B0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993" y="3610362"/>
                <a:ext cx="221009" cy="526808"/>
              </a:xfrm>
              <a:custGeom>
                <a:avLst/>
                <a:gdLst>
                  <a:gd name="T0" fmla="*/ 3 w 174"/>
                  <a:gd name="T1" fmla="*/ 184 h 414"/>
                  <a:gd name="T2" fmla="*/ 5 w 174"/>
                  <a:gd name="T3" fmla="*/ 7 h 414"/>
                  <a:gd name="T4" fmla="*/ 39 w 174"/>
                  <a:gd name="T5" fmla="*/ 25 h 414"/>
                  <a:gd name="T6" fmla="*/ 149 w 174"/>
                  <a:gd name="T7" fmla="*/ 385 h 414"/>
                  <a:gd name="T8" fmla="*/ 104 w 174"/>
                  <a:gd name="T9" fmla="*/ 414 h 414"/>
                  <a:gd name="T10" fmla="*/ 42 w 174"/>
                  <a:gd name="T11" fmla="*/ 349 h 414"/>
                  <a:gd name="T12" fmla="*/ 7 w 174"/>
                  <a:gd name="T13" fmla="*/ 199 h 414"/>
                  <a:gd name="T14" fmla="*/ 3 w 174"/>
                  <a:gd name="T15" fmla="*/ 18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4" h="414">
                    <a:moveTo>
                      <a:pt x="3" y="184"/>
                    </a:moveTo>
                    <a:cubicBezTo>
                      <a:pt x="3" y="184"/>
                      <a:pt x="0" y="11"/>
                      <a:pt x="5" y="7"/>
                    </a:cubicBezTo>
                    <a:cubicBezTo>
                      <a:pt x="12" y="0"/>
                      <a:pt x="30" y="15"/>
                      <a:pt x="39" y="25"/>
                    </a:cubicBezTo>
                    <a:cubicBezTo>
                      <a:pt x="62" y="51"/>
                      <a:pt x="174" y="293"/>
                      <a:pt x="149" y="385"/>
                    </a:cubicBezTo>
                    <a:cubicBezTo>
                      <a:pt x="145" y="399"/>
                      <a:pt x="104" y="414"/>
                      <a:pt x="104" y="414"/>
                    </a:cubicBezTo>
                    <a:cubicBezTo>
                      <a:pt x="104" y="414"/>
                      <a:pt x="44" y="354"/>
                      <a:pt x="42" y="349"/>
                    </a:cubicBezTo>
                    <a:cubicBezTo>
                      <a:pt x="26" y="314"/>
                      <a:pt x="7" y="199"/>
                      <a:pt x="7" y="199"/>
                    </a:cubicBezTo>
                    <a:cubicBezTo>
                      <a:pt x="4" y="194"/>
                      <a:pt x="3" y="189"/>
                      <a:pt x="3" y="184"/>
                    </a:cubicBez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Freeform 28">
                <a:extLst>
                  <a:ext uri="{FF2B5EF4-FFF2-40B4-BE49-F238E27FC236}">
                    <a16:creationId xmlns:a16="http://schemas.microsoft.com/office/drawing/2014/main" id="{BAD3925F-BE5B-4B8D-83E3-1EF7715BD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885" y="3504722"/>
                <a:ext cx="237689" cy="151510"/>
              </a:xfrm>
              <a:custGeom>
                <a:avLst/>
                <a:gdLst>
                  <a:gd name="T0" fmla="*/ 90 w 186"/>
                  <a:gd name="T1" fmla="*/ 117 h 119"/>
                  <a:gd name="T2" fmla="*/ 186 w 186"/>
                  <a:gd name="T3" fmla="*/ 49 h 119"/>
                  <a:gd name="T4" fmla="*/ 161 w 186"/>
                  <a:gd name="T5" fmla="*/ 32 h 119"/>
                  <a:gd name="T6" fmla="*/ 31 w 186"/>
                  <a:gd name="T7" fmla="*/ 26 h 119"/>
                  <a:gd name="T8" fmla="*/ 0 w 186"/>
                  <a:gd name="T9" fmla="*/ 38 h 119"/>
                  <a:gd name="T10" fmla="*/ 90 w 186"/>
                  <a:gd name="T11" fmla="*/ 11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119">
                    <a:moveTo>
                      <a:pt x="90" y="117"/>
                    </a:moveTo>
                    <a:cubicBezTo>
                      <a:pt x="120" y="119"/>
                      <a:pt x="175" y="68"/>
                      <a:pt x="186" y="49"/>
                    </a:cubicBezTo>
                    <a:cubicBezTo>
                      <a:pt x="186" y="49"/>
                      <a:pt x="174" y="36"/>
                      <a:pt x="161" y="32"/>
                    </a:cubicBezTo>
                    <a:cubicBezTo>
                      <a:pt x="86" y="6"/>
                      <a:pt x="92" y="0"/>
                      <a:pt x="31" y="26"/>
                    </a:cubicBezTo>
                    <a:cubicBezTo>
                      <a:pt x="23" y="29"/>
                      <a:pt x="0" y="38"/>
                      <a:pt x="0" y="38"/>
                    </a:cubicBezTo>
                    <a:cubicBezTo>
                      <a:pt x="1" y="41"/>
                      <a:pt x="63" y="116"/>
                      <a:pt x="90" y="117"/>
                    </a:cubicBezTo>
                    <a:close/>
                  </a:path>
                </a:pathLst>
              </a:custGeom>
              <a:solidFill>
                <a:srgbClr val="C286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Freeform 29">
                <a:extLst>
                  <a:ext uri="{FF2B5EF4-FFF2-40B4-BE49-F238E27FC236}">
                    <a16:creationId xmlns:a16="http://schemas.microsoft.com/office/drawing/2014/main" id="{2CFB1B16-38F4-428C-A4B7-A11B1C936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635" y="3440783"/>
                <a:ext cx="165410" cy="187649"/>
              </a:xfrm>
              <a:custGeom>
                <a:avLst/>
                <a:gdLst>
                  <a:gd name="T0" fmla="*/ 58 w 130"/>
                  <a:gd name="T1" fmla="*/ 143 h 147"/>
                  <a:gd name="T2" fmla="*/ 58 w 130"/>
                  <a:gd name="T3" fmla="*/ 143 h 147"/>
                  <a:gd name="T4" fmla="*/ 6 w 130"/>
                  <a:gd name="T5" fmla="*/ 73 h 147"/>
                  <a:gd name="T6" fmla="*/ 19 w 130"/>
                  <a:gd name="T7" fmla="*/ 0 h 147"/>
                  <a:gd name="T8" fmla="*/ 130 w 130"/>
                  <a:gd name="T9" fmla="*/ 12 h 147"/>
                  <a:gd name="T10" fmla="*/ 125 w 130"/>
                  <a:gd name="T11" fmla="*/ 87 h 147"/>
                  <a:gd name="T12" fmla="*/ 58 w 130"/>
                  <a:gd name="T13" fmla="*/ 143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147">
                    <a:moveTo>
                      <a:pt x="58" y="143"/>
                    </a:moveTo>
                    <a:cubicBezTo>
                      <a:pt x="58" y="143"/>
                      <a:pt x="58" y="143"/>
                      <a:pt x="58" y="143"/>
                    </a:cubicBezTo>
                    <a:cubicBezTo>
                      <a:pt x="24" y="139"/>
                      <a:pt x="0" y="107"/>
                      <a:pt x="6" y="7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5" y="87"/>
                      <a:pt x="125" y="87"/>
                      <a:pt x="125" y="87"/>
                    </a:cubicBezTo>
                    <a:cubicBezTo>
                      <a:pt x="123" y="122"/>
                      <a:pt x="92" y="147"/>
                      <a:pt x="58" y="143"/>
                    </a:cubicBezTo>
                    <a:close/>
                  </a:path>
                </a:pathLst>
              </a:custGeom>
              <a:solidFill>
                <a:srgbClr val="CF9E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Freeform 30">
                <a:extLst>
                  <a:ext uri="{FF2B5EF4-FFF2-40B4-BE49-F238E27FC236}">
                    <a16:creationId xmlns:a16="http://schemas.microsoft.com/office/drawing/2014/main" id="{3C05027D-7502-428E-A01A-DE7491BBAF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605" y="5421522"/>
                <a:ext cx="94519" cy="225179"/>
              </a:xfrm>
              <a:custGeom>
                <a:avLst/>
                <a:gdLst>
                  <a:gd name="T0" fmla="*/ 0 w 68"/>
                  <a:gd name="T1" fmla="*/ 0 h 162"/>
                  <a:gd name="T2" fmla="*/ 15 w 68"/>
                  <a:gd name="T3" fmla="*/ 160 h 162"/>
                  <a:gd name="T4" fmla="*/ 62 w 68"/>
                  <a:gd name="T5" fmla="*/ 162 h 162"/>
                  <a:gd name="T6" fmla="*/ 68 w 68"/>
                  <a:gd name="T7" fmla="*/ 86 h 162"/>
                  <a:gd name="T8" fmla="*/ 50 w 68"/>
                  <a:gd name="T9" fmla="*/ 35 h 162"/>
                  <a:gd name="T10" fmla="*/ 0 w 68"/>
                  <a:gd name="T11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" h="162">
                    <a:moveTo>
                      <a:pt x="0" y="0"/>
                    </a:moveTo>
                    <a:lnTo>
                      <a:pt x="15" y="160"/>
                    </a:lnTo>
                    <a:lnTo>
                      <a:pt x="62" y="162"/>
                    </a:lnTo>
                    <a:lnTo>
                      <a:pt x="68" y="86"/>
                    </a:lnTo>
                    <a:lnTo>
                      <a:pt x="5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7CB1ACE6-C36E-4969-9998-639F4E827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6936" y="3536692"/>
                <a:ext cx="525417" cy="806196"/>
              </a:xfrm>
              <a:custGeom>
                <a:avLst/>
                <a:gdLst>
                  <a:gd name="T0" fmla="*/ 402 w 413"/>
                  <a:gd name="T1" fmla="*/ 62 h 634"/>
                  <a:gd name="T2" fmla="*/ 275 w 413"/>
                  <a:gd name="T3" fmla="*/ 0 h 634"/>
                  <a:gd name="T4" fmla="*/ 266 w 413"/>
                  <a:gd name="T5" fmla="*/ 34 h 634"/>
                  <a:gd name="T6" fmla="*/ 163 w 413"/>
                  <a:gd name="T7" fmla="*/ 43 h 634"/>
                  <a:gd name="T8" fmla="*/ 135 w 413"/>
                  <a:gd name="T9" fmla="*/ 2 h 634"/>
                  <a:gd name="T10" fmla="*/ 35 w 413"/>
                  <a:gd name="T11" fmla="*/ 40 h 634"/>
                  <a:gd name="T12" fmla="*/ 9 w 413"/>
                  <a:gd name="T13" fmla="*/ 296 h 634"/>
                  <a:gd name="T14" fmla="*/ 31 w 413"/>
                  <a:gd name="T15" fmla="*/ 634 h 634"/>
                  <a:gd name="T16" fmla="*/ 408 w 413"/>
                  <a:gd name="T17" fmla="*/ 624 h 634"/>
                  <a:gd name="T18" fmla="*/ 402 w 413"/>
                  <a:gd name="T19" fmla="*/ 263 h 634"/>
                  <a:gd name="T20" fmla="*/ 402 w 413"/>
                  <a:gd name="T21" fmla="*/ 62 h 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3" h="634">
                    <a:moveTo>
                      <a:pt x="402" y="62"/>
                    </a:moveTo>
                    <a:cubicBezTo>
                      <a:pt x="390" y="45"/>
                      <a:pt x="275" y="0"/>
                      <a:pt x="275" y="0"/>
                    </a:cubicBezTo>
                    <a:cubicBezTo>
                      <a:pt x="275" y="0"/>
                      <a:pt x="274" y="21"/>
                      <a:pt x="266" y="34"/>
                    </a:cubicBezTo>
                    <a:cubicBezTo>
                      <a:pt x="249" y="60"/>
                      <a:pt x="183" y="67"/>
                      <a:pt x="163" y="43"/>
                    </a:cubicBezTo>
                    <a:cubicBezTo>
                      <a:pt x="153" y="31"/>
                      <a:pt x="135" y="2"/>
                      <a:pt x="135" y="2"/>
                    </a:cubicBezTo>
                    <a:cubicBezTo>
                      <a:pt x="135" y="2"/>
                      <a:pt x="66" y="21"/>
                      <a:pt x="35" y="40"/>
                    </a:cubicBezTo>
                    <a:cubicBezTo>
                      <a:pt x="16" y="52"/>
                      <a:pt x="0" y="175"/>
                      <a:pt x="9" y="296"/>
                    </a:cubicBezTo>
                    <a:cubicBezTo>
                      <a:pt x="20" y="452"/>
                      <a:pt x="31" y="634"/>
                      <a:pt x="31" y="634"/>
                    </a:cubicBezTo>
                    <a:cubicBezTo>
                      <a:pt x="408" y="624"/>
                      <a:pt x="408" y="624"/>
                      <a:pt x="408" y="624"/>
                    </a:cubicBezTo>
                    <a:cubicBezTo>
                      <a:pt x="402" y="263"/>
                      <a:pt x="402" y="263"/>
                      <a:pt x="402" y="263"/>
                    </a:cubicBezTo>
                    <a:cubicBezTo>
                      <a:pt x="402" y="263"/>
                      <a:pt x="413" y="77"/>
                      <a:pt x="402" y="62"/>
                    </a:cubicBez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AF400A16-08D4-476C-ABCF-A34456EAA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6125" y="4982285"/>
                <a:ext cx="233519" cy="604647"/>
              </a:xfrm>
              <a:custGeom>
                <a:avLst/>
                <a:gdLst>
                  <a:gd name="T0" fmla="*/ 39 w 183"/>
                  <a:gd name="T1" fmla="*/ 475 h 475"/>
                  <a:gd name="T2" fmla="*/ 1 w 183"/>
                  <a:gd name="T3" fmla="*/ 177 h 475"/>
                  <a:gd name="T4" fmla="*/ 70 w 183"/>
                  <a:gd name="T5" fmla="*/ 7 h 475"/>
                  <a:gd name="T6" fmla="*/ 141 w 183"/>
                  <a:gd name="T7" fmla="*/ 35 h 475"/>
                  <a:gd name="T8" fmla="*/ 117 w 183"/>
                  <a:gd name="T9" fmla="*/ 475 h 475"/>
                  <a:gd name="T10" fmla="*/ 39 w 183"/>
                  <a:gd name="T11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475">
                    <a:moveTo>
                      <a:pt x="39" y="475"/>
                    </a:moveTo>
                    <a:cubicBezTo>
                      <a:pt x="39" y="475"/>
                      <a:pt x="7" y="430"/>
                      <a:pt x="1" y="177"/>
                    </a:cubicBezTo>
                    <a:cubicBezTo>
                      <a:pt x="0" y="153"/>
                      <a:pt x="31" y="19"/>
                      <a:pt x="70" y="7"/>
                    </a:cubicBezTo>
                    <a:cubicBezTo>
                      <a:pt x="91" y="0"/>
                      <a:pt x="128" y="17"/>
                      <a:pt x="141" y="35"/>
                    </a:cubicBezTo>
                    <a:cubicBezTo>
                      <a:pt x="183" y="94"/>
                      <a:pt x="117" y="475"/>
                      <a:pt x="117" y="475"/>
                    </a:cubicBezTo>
                    <a:lnTo>
                      <a:pt x="39" y="475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Freeform 33">
                <a:extLst>
                  <a:ext uri="{FF2B5EF4-FFF2-40B4-BE49-F238E27FC236}">
                    <a16:creationId xmlns:a16="http://schemas.microsoft.com/office/drawing/2014/main" id="{847D2CC7-CDE8-4B90-BCA4-DFCD3C75B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804" y="5470172"/>
                <a:ext cx="90350" cy="176529"/>
              </a:xfrm>
              <a:custGeom>
                <a:avLst/>
                <a:gdLst>
                  <a:gd name="T0" fmla="*/ 0 w 65"/>
                  <a:gd name="T1" fmla="*/ 0 h 127"/>
                  <a:gd name="T2" fmla="*/ 6 w 65"/>
                  <a:gd name="T3" fmla="*/ 127 h 127"/>
                  <a:gd name="T4" fmla="*/ 64 w 65"/>
                  <a:gd name="T5" fmla="*/ 115 h 127"/>
                  <a:gd name="T6" fmla="*/ 65 w 65"/>
                  <a:gd name="T7" fmla="*/ 17 h 127"/>
                  <a:gd name="T8" fmla="*/ 0 w 65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127">
                    <a:moveTo>
                      <a:pt x="0" y="0"/>
                    </a:moveTo>
                    <a:lnTo>
                      <a:pt x="6" y="127"/>
                    </a:lnTo>
                    <a:lnTo>
                      <a:pt x="64" y="115"/>
                    </a:lnTo>
                    <a:lnTo>
                      <a:pt x="65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Freeform 34">
                <a:extLst>
                  <a:ext uri="{FF2B5EF4-FFF2-40B4-BE49-F238E27FC236}">
                    <a16:creationId xmlns:a16="http://schemas.microsoft.com/office/drawing/2014/main" id="{643FF33B-DA89-4FFA-BA42-EBDC96186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3274" y="4965605"/>
                <a:ext cx="187649" cy="612987"/>
              </a:xfrm>
              <a:custGeom>
                <a:avLst/>
                <a:gdLst>
                  <a:gd name="T0" fmla="*/ 136 w 148"/>
                  <a:gd name="T1" fmla="*/ 42 h 482"/>
                  <a:gd name="T2" fmla="*/ 143 w 148"/>
                  <a:gd name="T3" fmla="*/ 222 h 482"/>
                  <a:gd name="T4" fmla="*/ 107 w 148"/>
                  <a:gd name="T5" fmla="*/ 478 h 482"/>
                  <a:gd name="T6" fmla="*/ 20 w 148"/>
                  <a:gd name="T7" fmla="*/ 482 h 482"/>
                  <a:gd name="T8" fmla="*/ 0 w 148"/>
                  <a:gd name="T9" fmla="*/ 147 h 482"/>
                  <a:gd name="T10" fmla="*/ 24 w 148"/>
                  <a:gd name="T11" fmla="*/ 36 h 482"/>
                  <a:gd name="T12" fmla="*/ 136 w 148"/>
                  <a:gd name="T13" fmla="*/ 4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82">
                    <a:moveTo>
                      <a:pt x="136" y="42"/>
                    </a:moveTo>
                    <a:cubicBezTo>
                      <a:pt x="148" y="90"/>
                      <a:pt x="143" y="222"/>
                      <a:pt x="143" y="222"/>
                    </a:cubicBezTo>
                    <a:cubicBezTo>
                      <a:pt x="107" y="478"/>
                      <a:pt x="107" y="478"/>
                      <a:pt x="107" y="478"/>
                    </a:cubicBezTo>
                    <a:cubicBezTo>
                      <a:pt x="20" y="482"/>
                      <a:pt x="20" y="482"/>
                      <a:pt x="20" y="482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47"/>
                      <a:pt x="13" y="54"/>
                      <a:pt x="24" y="36"/>
                    </a:cubicBezTo>
                    <a:cubicBezTo>
                      <a:pt x="36" y="19"/>
                      <a:pt x="126" y="0"/>
                      <a:pt x="136" y="42"/>
                    </a:cubicBez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Freeform 35">
                <a:extLst>
                  <a:ext uri="{FF2B5EF4-FFF2-40B4-BE49-F238E27FC236}">
                    <a16:creationId xmlns:a16="http://schemas.microsoft.com/office/drawing/2014/main" id="{344E2305-4047-4F58-91AC-137FDB408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5514" y="5581371"/>
                <a:ext cx="291898" cy="116759"/>
              </a:xfrm>
              <a:custGeom>
                <a:avLst/>
                <a:gdLst>
                  <a:gd name="T0" fmla="*/ 101 w 230"/>
                  <a:gd name="T1" fmla="*/ 14 h 92"/>
                  <a:gd name="T2" fmla="*/ 221 w 230"/>
                  <a:gd name="T3" fmla="*/ 57 h 92"/>
                  <a:gd name="T4" fmla="*/ 229 w 230"/>
                  <a:gd name="T5" fmla="*/ 72 h 92"/>
                  <a:gd name="T6" fmla="*/ 223 w 230"/>
                  <a:gd name="T7" fmla="*/ 92 h 92"/>
                  <a:gd name="T8" fmla="*/ 4 w 230"/>
                  <a:gd name="T9" fmla="*/ 87 h 92"/>
                  <a:gd name="T10" fmla="*/ 1 w 230"/>
                  <a:gd name="T11" fmla="*/ 55 h 92"/>
                  <a:gd name="T12" fmla="*/ 12 w 230"/>
                  <a:gd name="T13" fmla="*/ 10 h 92"/>
                  <a:gd name="T14" fmla="*/ 15 w 230"/>
                  <a:gd name="T15" fmla="*/ 10 h 92"/>
                  <a:gd name="T16" fmla="*/ 22 w 230"/>
                  <a:gd name="T17" fmla="*/ 13 h 92"/>
                  <a:gd name="T18" fmla="*/ 80 w 230"/>
                  <a:gd name="T19" fmla="*/ 11 h 92"/>
                  <a:gd name="T20" fmla="*/ 89 w 230"/>
                  <a:gd name="T21" fmla="*/ 2 h 92"/>
                  <a:gd name="T22" fmla="*/ 101 w 230"/>
                  <a:gd name="T23" fmla="*/ 1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0" h="92">
                    <a:moveTo>
                      <a:pt x="101" y="14"/>
                    </a:moveTo>
                    <a:cubicBezTo>
                      <a:pt x="190" y="66"/>
                      <a:pt x="194" y="37"/>
                      <a:pt x="221" y="57"/>
                    </a:cubicBezTo>
                    <a:cubicBezTo>
                      <a:pt x="225" y="61"/>
                      <a:pt x="227" y="66"/>
                      <a:pt x="229" y="72"/>
                    </a:cubicBezTo>
                    <a:cubicBezTo>
                      <a:pt x="230" y="76"/>
                      <a:pt x="223" y="92"/>
                      <a:pt x="223" y="92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0" y="81"/>
                      <a:pt x="0" y="61"/>
                      <a:pt x="1" y="55"/>
                    </a:cubicBezTo>
                    <a:cubicBezTo>
                      <a:pt x="2" y="46"/>
                      <a:pt x="12" y="10"/>
                      <a:pt x="12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8" y="10"/>
                      <a:pt x="20" y="11"/>
                      <a:pt x="22" y="13"/>
                    </a:cubicBezTo>
                    <a:cubicBezTo>
                      <a:pt x="39" y="32"/>
                      <a:pt x="68" y="20"/>
                      <a:pt x="80" y="11"/>
                    </a:cubicBezTo>
                    <a:cubicBezTo>
                      <a:pt x="84" y="8"/>
                      <a:pt x="77" y="0"/>
                      <a:pt x="89" y="2"/>
                    </a:cubicBezTo>
                    <a:cubicBezTo>
                      <a:pt x="93" y="2"/>
                      <a:pt x="98" y="12"/>
                      <a:pt x="101" y="14"/>
                    </a:cubicBezTo>
                    <a:close/>
                  </a:path>
                </a:pathLst>
              </a:custGeom>
              <a:solidFill>
                <a:srgbClr val="4836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Freeform 36">
                <a:extLst>
                  <a:ext uri="{FF2B5EF4-FFF2-40B4-BE49-F238E27FC236}">
                    <a16:creationId xmlns:a16="http://schemas.microsoft.com/office/drawing/2014/main" id="{7317645D-A6FF-406E-BC11-CA1105387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684" y="5688401"/>
                <a:ext cx="282169" cy="29190"/>
              </a:xfrm>
              <a:custGeom>
                <a:avLst/>
                <a:gdLst>
                  <a:gd name="T0" fmla="*/ 222 w 222"/>
                  <a:gd name="T1" fmla="*/ 0 h 23"/>
                  <a:gd name="T2" fmla="*/ 199 w 222"/>
                  <a:gd name="T3" fmla="*/ 6 h 23"/>
                  <a:gd name="T4" fmla="*/ 0 w 222"/>
                  <a:gd name="T5" fmla="*/ 3 h 23"/>
                  <a:gd name="T6" fmla="*/ 5 w 222"/>
                  <a:gd name="T7" fmla="*/ 23 h 23"/>
                  <a:gd name="T8" fmla="*/ 215 w 222"/>
                  <a:gd name="T9" fmla="*/ 23 h 23"/>
                  <a:gd name="T10" fmla="*/ 222 w 222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2" h="23">
                    <a:moveTo>
                      <a:pt x="222" y="0"/>
                    </a:moveTo>
                    <a:cubicBezTo>
                      <a:pt x="222" y="0"/>
                      <a:pt x="218" y="6"/>
                      <a:pt x="199" y="6"/>
                    </a:cubicBezTo>
                    <a:cubicBezTo>
                      <a:pt x="44" y="6"/>
                      <a:pt x="0" y="3"/>
                      <a:pt x="0" y="3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215" y="23"/>
                      <a:pt x="215" y="23"/>
                      <a:pt x="215" y="23"/>
                    </a:cubicBezTo>
                    <a:lnTo>
                      <a:pt x="22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Freeform 37">
                <a:extLst>
                  <a:ext uri="{FF2B5EF4-FFF2-40B4-BE49-F238E27FC236}">
                    <a16:creationId xmlns:a16="http://schemas.microsoft.com/office/drawing/2014/main" id="{02E58777-1688-40F2-A6EA-450453A5A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0883" y="5598051"/>
                <a:ext cx="25020" cy="19460"/>
              </a:xfrm>
              <a:custGeom>
                <a:avLst/>
                <a:gdLst>
                  <a:gd name="T0" fmla="*/ 2 w 20"/>
                  <a:gd name="T1" fmla="*/ 15 h 15"/>
                  <a:gd name="T2" fmla="*/ 0 w 20"/>
                  <a:gd name="T3" fmla="*/ 14 h 15"/>
                  <a:gd name="T4" fmla="*/ 0 w 20"/>
                  <a:gd name="T5" fmla="*/ 12 h 15"/>
                  <a:gd name="T6" fmla="*/ 17 w 20"/>
                  <a:gd name="T7" fmla="*/ 0 h 15"/>
                  <a:gd name="T8" fmla="*/ 19 w 20"/>
                  <a:gd name="T9" fmla="*/ 1 h 15"/>
                  <a:gd name="T10" fmla="*/ 18 w 20"/>
                  <a:gd name="T11" fmla="*/ 4 h 15"/>
                  <a:gd name="T12" fmla="*/ 3 w 20"/>
                  <a:gd name="T13" fmla="*/ 14 h 15"/>
                  <a:gd name="T14" fmla="*/ 2 w 20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5">
                    <a:moveTo>
                      <a:pt x="2" y="15"/>
                    </a:moveTo>
                    <a:cubicBezTo>
                      <a:pt x="1" y="15"/>
                      <a:pt x="1" y="15"/>
                      <a:pt x="0" y="14"/>
                    </a:cubicBezTo>
                    <a:cubicBezTo>
                      <a:pt x="0" y="14"/>
                      <a:pt x="0" y="12"/>
                      <a:pt x="0" y="12"/>
                    </a:cubicBezTo>
                    <a:cubicBezTo>
                      <a:pt x="7" y="5"/>
                      <a:pt x="17" y="0"/>
                      <a:pt x="17" y="0"/>
                    </a:cubicBezTo>
                    <a:cubicBezTo>
                      <a:pt x="18" y="0"/>
                      <a:pt x="19" y="0"/>
                      <a:pt x="19" y="1"/>
                    </a:cubicBezTo>
                    <a:cubicBezTo>
                      <a:pt x="20" y="2"/>
                      <a:pt x="19" y="3"/>
                      <a:pt x="18" y="4"/>
                    </a:cubicBezTo>
                    <a:cubicBezTo>
                      <a:pt x="18" y="4"/>
                      <a:pt x="9" y="8"/>
                      <a:pt x="3" y="14"/>
                    </a:cubicBezTo>
                    <a:cubicBezTo>
                      <a:pt x="3" y="15"/>
                      <a:pt x="2" y="15"/>
                      <a:pt x="2" y="15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Freeform 38">
                <a:extLst>
                  <a:ext uri="{FF2B5EF4-FFF2-40B4-BE49-F238E27FC236}">
                    <a16:creationId xmlns:a16="http://schemas.microsoft.com/office/drawing/2014/main" id="{175CDF92-719D-4004-ADE7-4F3A1E81E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783" y="5606391"/>
                <a:ext cx="23630" cy="26410"/>
              </a:xfrm>
              <a:custGeom>
                <a:avLst/>
                <a:gdLst>
                  <a:gd name="T0" fmla="*/ 2 w 19"/>
                  <a:gd name="T1" fmla="*/ 20 h 20"/>
                  <a:gd name="T2" fmla="*/ 0 w 19"/>
                  <a:gd name="T3" fmla="*/ 19 h 20"/>
                  <a:gd name="T4" fmla="*/ 1 w 19"/>
                  <a:gd name="T5" fmla="*/ 16 h 20"/>
                  <a:gd name="T6" fmla="*/ 16 w 19"/>
                  <a:gd name="T7" fmla="*/ 1 h 20"/>
                  <a:gd name="T8" fmla="*/ 18 w 19"/>
                  <a:gd name="T9" fmla="*/ 0 h 20"/>
                  <a:gd name="T10" fmla="*/ 19 w 19"/>
                  <a:gd name="T11" fmla="*/ 3 h 20"/>
                  <a:gd name="T12" fmla="*/ 3 w 19"/>
                  <a:gd name="T13" fmla="*/ 20 h 20"/>
                  <a:gd name="T14" fmla="*/ 2 w 19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0">
                    <a:moveTo>
                      <a:pt x="2" y="20"/>
                    </a:moveTo>
                    <a:cubicBezTo>
                      <a:pt x="1" y="20"/>
                      <a:pt x="1" y="19"/>
                      <a:pt x="0" y="19"/>
                    </a:cubicBezTo>
                    <a:cubicBezTo>
                      <a:pt x="0" y="18"/>
                      <a:pt x="0" y="17"/>
                      <a:pt x="1" y="16"/>
                    </a:cubicBezTo>
                    <a:cubicBezTo>
                      <a:pt x="9" y="12"/>
                      <a:pt x="15" y="1"/>
                      <a:pt x="16" y="1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1"/>
                      <a:pt x="19" y="2"/>
                      <a:pt x="19" y="3"/>
                    </a:cubicBezTo>
                    <a:cubicBezTo>
                      <a:pt x="19" y="3"/>
                      <a:pt x="12" y="15"/>
                      <a:pt x="3" y="20"/>
                    </a:cubicBezTo>
                    <a:cubicBezTo>
                      <a:pt x="3" y="20"/>
                      <a:pt x="2" y="20"/>
                      <a:pt x="2" y="20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Freeform 39">
                <a:extLst>
                  <a:ext uri="{FF2B5EF4-FFF2-40B4-BE49-F238E27FC236}">
                    <a16:creationId xmlns:a16="http://schemas.microsoft.com/office/drawing/2014/main" id="{E2EBA36B-F2F3-48D7-80FE-261CA5472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7023" y="5616121"/>
                <a:ext cx="16680" cy="25020"/>
              </a:xfrm>
              <a:custGeom>
                <a:avLst/>
                <a:gdLst>
                  <a:gd name="T0" fmla="*/ 3 w 13"/>
                  <a:gd name="T1" fmla="*/ 20 h 20"/>
                  <a:gd name="T2" fmla="*/ 1 w 13"/>
                  <a:gd name="T3" fmla="*/ 19 h 20"/>
                  <a:gd name="T4" fmla="*/ 1 w 13"/>
                  <a:gd name="T5" fmla="*/ 17 h 20"/>
                  <a:gd name="T6" fmla="*/ 9 w 13"/>
                  <a:gd name="T7" fmla="*/ 2 h 20"/>
                  <a:gd name="T8" fmla="*/ 11 w 13"/>
                  <a:gd name="T9" fmla="*/ 0 h 20"/>
                  <a:gd name="T10" fmla="*/ 13 w 13"/>
                  <a:gd name="T11" fmla="*/ 2 h 20"/>
                  <a:gd name="T12" fmla="*/ 4 w 13"/>
                  <a:gd name="T13" fmla="*/ 20 h 20"/>
                  <a:gd name="T14" fmla="*/ 3 w 13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3" y="20"/>
                    </a:moveTo>
                    <a:cubicBezTo>
                      <a:pt x="2" y="20"/>
                      <a:pt x="1" y="20"/>
                      <a:pt x="1" y="19"/>
                    </a:cubicBezTo>
                    <a:cubicBezTo>
                      <a:pt x="0" y="19"/>
                      <a:pt x="1" y="17"/>
                      <a:pt x="1" y="17"/>
                    </a:cubicBezTo>
                    <a:cubicBezTo>
                      <a:pt x="7" y="12"/>
                      <a:pt x="9" y="2"/>
                      <a:pt x="9" y="2"/>
                    </a:cubicBezTo>
                    <a:cubicBezTo>
                      <a:pt x="9" y="0"/>
                      <a:pt x="10" y="0"/>
                      <a:pt x="11" y="0"/>
                    </a:cubicBezTo>
                    <a:cubicBezTo>
                      <a:pt x="12" y="0"/>
                      <a:pt x="13" y="1"/>
                      <a:pt x="13" y="2"/>
                    </a:cubicBezTo>
                    <a:cubicBezTo>
                      <a:pt x="13" y="3"/>
                      <a:pt x="10" y="14"/>
                      <a:pt x="4" y="20"/>
                    </a:cubicBezTo>
                    <a:cubicBezTo>
                      <a:pt x="3" y="20"/>
                      <a:pt x="3" y="20"/>
                      <a:pt x="3" y="20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Freeform 40">
                <a:extLst>
                  <a:ext uri="{FF2B5EF4-FFF2-40B4-BE49-F238E27FC236}">
                    <a16:creationId xmlns:a16="http://schemas.microsoft.com/office/drawing/2014/main" id="{F9956584-0FF1-43D1-9EC6-7BDDB70B0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1145" y="5596661"/>
                <a:ext cx="148730" cy="132050"/>
              </a:xfrm>
              <a:custGeom>
                <a:avLst/>
                <a:gdLst>
                  <a:gd name="T0" fmla="*/ 91 w 118"/>
                  <a:gd name="T1" fmla="*/ 9 h 104"/>
                  <a:gd name="T2" fmla="*/ 102 w 118"/>
                  <a:gd name="T3" fmla="*/ 48 h 104"/>
                  <a:gd name="T4" fmla="*/ 113 w 118"/>
                  <a:gd name="T5" fmla="*/ 71 h 104"/>
                  <a:gd name="T6" fmla="*/ 113 w 118"/>
                  <a:gd name="T7" fmla="*/ 71 h 104"/>
                  <a:gd name="T8" fmla="*/ 117 w 118"/>
                  <a:gd name="T9" fmla="*/ 86 h 104"/>
                  <a:gd name="T10" fmla="*/ 110 w 118"/>
                  <a:gd name="T11" fmla="*/ 102 h 104"/>
                  <a:gd name="T12" fmla="*/ 9 w 118"/>
                  <a:gd name="T13" fmla="*/ 104 h 104"/>
                  <a:gd name="T14" fmla="*/ 2 w 118"/>
                  <a:gd name="T15" fmla="*/ 91 h 104"/>
                  <a:gd name="T16" fmla="*/ 2 w 118"/>
                  <a:gd name="T17" fmla="*/ 77 h 104"/>
                  <a:gd name="T18" fmla="*/ 6 w 118"/>
                  <a:gd name="T19" fmla="*/ 68 h 104"/>
                  <a:gd name="T20" fmla="*/ 15 w 118"/>
                  <a:gd name="T21" fmla="*/ 48 h 104"/>
                  <a:gd name="T22" fmla="*/ 21 w 118"/>
                  <a:gd name="T23" fmla="*/ 9 h 104"/>
                  <a:gd name="T24" fmla="*/ 28 w 118"/>
                  <a:gd name="T25" fmla="*/ 10 h 104"/>
                  <a:gd name="T26" fmla="*/ 35 w 118"/>
                  <a:gd name="T27" fmla="*/ 9 h 104"/>
                  <a:gd name="T28" fmla="*/ 60 w 118"/>
                  <a:gd name="T29" fmla="*/ 2 h 104"/>
                  <a:gd name="T30" fmla="*/ 77 w 118"/>
                  <a:gd name="T31" fmla="*/ 9 h 104"/>
                  <a:gd name="T32" fmla="*/ 84 w 118"/>
                  <a:gd name="T33" fmla="*/ 10 h 104"/>
                  <a:gd name="T34" fmla="*/ 91 w 118"/>
                  <a:gd name="T35" fmla="*/ 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8" h="104">
                    <a:moveTo>
                      <a:pt x="91" y="9"/>
                    </a:moveTo>
                    <a:cubicBezTo>
                      <a:pt x="102" y="48"/>
                      <a:pt x="102" y="48"/>
                      <a:pt x="102" y="48"/>
                    </a:cubicBezTo>
                    <a:cubicBezTo>
                      <a:pt x="104" y="56"/>
                      <a:pt x="108" y="64"/>
                      <a:pt x="113" y="71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7" y="75"/>
                      <a:pt x="118" y="80"/>
                      <a:pt x="117" y="86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0" y="87"/>
                      <a:pt x="0" y="81"/>
                      <a:pt x="2" y="77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8" y="62"/>
                      <a:pt x="14" y="53"/>
                      <a:pt x="15" y="48"/>
                    </a:cubicBezTo>
                    <a:cubicBezTo>
                      <a:pt x="17" y="38"/>
                      <a:pt x="21" y="9"/>
                      <a:pt x="21" y="9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30" y="11"/>
                      <a:pt x="33" y="10"/>
                      <a:pt x="35" y="9"/>
                    </a:cubicBezTo>
                    <a:cubicBezTo>
                      <a:pt x="40" y="5"/>
                      <a:pt x="48" y="0"/>
                      <a:pt x="60" y="2"/>
                    </a:cubicBezTo>
                    <a:cubicBezTo>
                      <a:pt x="64" y="2"/>
                      <a:pt x="73" y="7"/>
                      <a:pt x="77" y="9"/>
                    </a:cubicBezTo>
                    <a:cubicBezTo>
                      <a:pt x="79" y="10"/>
                      <a:pt x="81" y="11"/>
                      <a:pt x="84" y="10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rgbClr val="4836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Freeform 41">
                <a:extLst>
                  <a:ext uri="{FF2B5EF4-FFF2-40B4-BE49-F238E27FC236}">
                    <a16:creationId xmlns:a16="http://schemas.microsoft.com/office/drawing/2014/main" id="{3249E4A6-3690-469E-9241-119D1AD62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536" y="5702301"/>
                <a:ext cx="147339" cy="38920"/>
              </a:xfrm>
              <a:custGeom>
                <a:avLst/>
                <a:gdLst>
                  <a:gd name="T0" fmla="*/ 115 w 115"/>
                  <a:gd name="T1" fmla="*/ 0 h 30"/>
                  <a:gd name="T2" fmla="*/ 103 w 115"/>
                  <a:gd name="T3" fmla="*/ 9 h 30"/>
                  <a:gd name="T4" fmla="*/ 57 w 115"/>
                  <a:gd name="T5" fmla="*/ 3 h 30"/>
                  <a:gd name="T6" fmla="*/ 9 w 115"/>
                  <a:gd name="T7" fmla="*/ 10 h 30"/>
                  <a:gd name="T8" fmla="*/ 0 w 115"/>
                  <a:gd name="T9" fmla="*/ 6 h 30"/>
                  <a:gd name="T10" fmla="*/ 9 w 115"/>
                  <a:gd name="T11" fmla="*/ 26 h 30"/>
                  <a:gd name="T12" fmla="*/ 18 w 115"/>
                  <a:gd name="T13" fmla="*/ 29 h 30"/>
                  <a:gd name="T14" fmla="*/ 58 w 115"/>
                  <a:gd name="T15" fmla="*/ 29 h 30"/>
                  <a:gd name="T16" fmla="*/ 97 w 115"/>
                  <a:gd name="T17" fmla="*/ 29 h 30"/>
                  <a:gd name="T18" fmla="*/ 108 w 115"/>
                  <a:gd name="T19" fmla="*/ 22 h 30"/>
                  <a:gd name="T20" fmla="*/ 115 w 115"/>
                  <a:gd name="T2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5" h="30">
                    <a:moveTo>
                      <a:pt x="115" y="0"/>
                    </a:moveTo>
                    <a:cubicBezTo>
                      <a:pt x="115" y="0"/>
                      <a:pt x="109" y="9"/>
                      <a:pt x="103" y="9"/>
                    </a:cubicBezTo>
                    <a:cubicBezTo>
                      <a:pt x="86" y="9"/>
                      <a:pt x="80" y="3"/>
                      <a:pt x="57" y="3"/>
                    </a:cubicBezTo>
                    <a:cubicBezTo>
                      <a:pt x="39" y="3"/>
                      <a:pt x="19" y="10"/>
                      <a:pt x="9" y="10"/>
                    </a:cubicBezTo>
                    <a:cubicBezTo>
                      <a:pt x="7" y="10"/>
                      <a:pt x="0" y="6"/>
                      <a:pt x="0" y="6"/>
                    </a:cubicBezTo>
                    <a:cubicBezTo>
                      <a:pt x="0" y="6"/>
                      <a:pt x="7" y="24"/>
                      <a:pt x="9" y="26"/>
                    </a:cubicBezTo>
                    <a:cubicBezTo>
                      <a:pt x="10" y="28"/>
                      <a:pt x="13" y="29"/>
                      <a:pt x="18" y="29"/>
                    </a:cubicBezTo>
                    <a:cubicBezTo>
                      <a:pt x="28" y="29"/>
                      <a:pt x="48" y="29"/>
                      <a:pt x="58" y="29"/>
                    </a:cubicBezTo>
                    <a:cubicBezTo>
                      <a:pt x="67" y="29"/>
                      <a:pt x="80" y="30"/>
                      <a:pt x="97" y="29"/>
                    </a:cubicBezTo>
                    <a:cubicBezTo>
                      <a:pt x="103" y="29"/>
                      <a:pt x="107" y="25"/>
                      <a:pt x="108" y="22"/>
                    </a:cubicBezTo>
                    <a:cubicBezTo>
                      <a:pt x="115" y="5"/>
                      <a:pt x="115" y="0"/>
                      <a:pt x="115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Freeform 42">
                <a:extLst>
                  <a:ext uri="{FF2B5EF4-FFF2-40B4-BE49-F238E27FC236}">
                    <a16:creationId xmlns:a16="http://schemas.microsoft.com/office/drawing/2014/main" id="{7BC72F80-E195-4B63-86ED-4103E4D4B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7285" y="5645311"/>
                <a:ext cx="68110" cy="25020"/>
              </a:xfrm>
              <a:custGeom>
                <a:avLst/>
                <a:gdLst>
                  <a:gd name="T0" fmla="*/ 3 w 54"/>
                  <a:gd name="T1" fmla="*/ 20 h 20"/>
                  <a:gd name="T2" fmla="*/ 1 w 54"/>
                  <a:gd name="T3" fmla="*/ 19 h 20"/>
                  <a:gd name="T4" fmla="*/ 2 w 54"/>
                  <a:gd name="T5" fmla="*/ 16 h 20"/>
                  <a:gd name="T6" fmla="*/ 53 w 54"/>
                  <a:gd name="T7" fmla="*/ 13 h 20"/>
                  <a:gd name="T8" fmla="*/ 54 w 54"/>
                  <a:gd name="T9" fmla="*/ 16 h 20"/>
                  <a:gd name="T10" fmla="*/ 51 w 54"/>
                  <a:gd name="T11" fmla="*/ 17 h 20"/>
                  <a:gd name="T12" fmla="*/ 4 w 54"/>
                  <a:gd name="T13" fmla="*/ 19 h 20"/>
                  <a:gd name="T14" fmla="*/ 3 w 54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20">
                    <a:moveTo>
                      <a:pt x="3" y="20"/>
                    </a:moveTo>
                    <a:cubicBezTo>
                      <a:pt x="2" y="20"/>
                      <a:pt x="1" y="19"/>
                      <a:pt x="1" y="19"/>
                    </a:cubicBezTo>
                    <a:cubicBezTo>
                      <a:pt x="0" y="18"/>
                      <a:pt x="1" y="17"/>
                      <a:pt x="2" y="16"/>
                    </a:cubicBezTo>
                    <a:cubicBezTo>
                      <a:pt x="26" y="0"/>
                      <a:pt x="52" y="13"/>
                      <a:pt x="53" y="13"/>
                    </a:cubicBezTo>
                    <a:cubicBezTo>
                      <a:pt x="54" y="14"/>
                      <a:pt x="54" y="15"/>
                      <a:pt x="54" y="16"/>
                    </a:cubicBezTo>
                    <a:cubicBezTo>
                      <a:pt x="53" y="17"/>
                      <a:pt x="52" y="17"/>
                      <a:pt x="51" y="17"/>
                    </a:cubicBezTo>
                    <a:cubicBezTo>
                      <a:pt x="51" y="17"/>
                      <a:pt x="27" y="4"/>
                      <a:pt x="4" y="19"/>
                    </a:cubicBezTo>
                    <a:cubicBezTo>
                      <a:pt x="3" y="19"/>
                      <a:pt x="3" y="20"/>
                      <a:pt x="3" y="20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Freeform 43">
                <a:extLst>
                  <a:ext uri="{FF2B5EF4-FFF2-40B4-BE49-F238E27FC236}">
                    <a16:creationId xmlns:a16="http://schemas.microsoft.com/office/drawing/2014/main" id="{FCA980D1-17B7-4316-973F-CA36811F6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0335" y="5624461"/>
                <a:ext cx="80620" cy="27800"/>
              </a:xfrm>
              <a:custGeom>
                <a:avLst/>
                <a:gdLst>
                  <a:gd name="T0" fmla="*/ 2 w 63"/>
                  <a:gd name="T1" fmla="*/ 22 h 22"/>
                  <a:gd name="T2" fmla="*/ 1 w 63"/>
                  <a:gd name="T3" fmla="*/ 22 h 22"/>
                  <a:gd name="T4" fmla="*/ 1 w 63"/>
                  <a:gd name="T5" fmla="*/ 19 h 22"/>
                  <a:gd name="T6" fmla="*/ 62 w 63"/>
                  <a:gd name="T7" fmla="*/ 17 h 22"/>
                  <a:gd name="T8" fmla="*/ 63 w 63"/>
                  <a:gd name="T9" fmla="*/ 20 h 22"/>
                  <a:gd name="T10" fmla="*/ 60 w 63"/>
                  <a:gd name="T11" fmla="*/ 21 h 22"/>
                  <a:gd name="T12" fmla="*/ 3 w 63"/>
                  <a:gd name="T13" fmla="*/ 22 h 22"/>
                  <a:gd name="T14" fmla="*/ 2 w 63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22">
                    <a:moveTo>
                      <a:pt x="2" y="22"/>
                    </a:moveTo>
                    <a:cubicBezTo>
                      <a:pt x="2" y="22"/>
                      <a:pt x="1" y="22"/>
                      <a:pt x="1" y="22"/>
                    </a:cubicBezTo>
                    <a:cubicBezTo>
                      <a:pt x="0" y="21"/>
                      <a:pt x="0" y="20"/>
                      <a:pt x="1" y="19"/>
                    </a:cubicBezTo>
                    <a:cubicBezTo>
                      <a:pt x="27" y="0"/>
                      <a:pt x="61" y="17"/>
                      <a:pt x="62" y="17"/>
                    </a:cubicBezTo>
                    <a:cubicBezTo>
                      <a:pt x="63" y="18"/>
                      <a:pt x="63" y="19"/>
                      <a:pt x="63" y="20"/>
                    </a:cubicBezTo>
                    <a:cubicBezTo>
                      <a:pt x="62" y="21"/>
                      <a:pt x="61" y="21"/>
                      <a:pt x="60" y="21"/>
                    </a:cubicBezTo>
                    <a:cubicBezTo>
                      <a:pt x="60" y="21"/>
                      <a:pt x="27" y="5"/>
                      <a:pt x="3" y="22"/>
                    </a:cubicBezTo>
                    <a:cubicBezTo>
                      <a:pt x="3" y="22"/>
                      <a:pt x="3" y="22"/>
                      <a:pt x="2" y="22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Freeform 44">
                <a:extLst>
                  <a:ext uri="{FF2B5EF4-FFF2-40B4-BE49-F238E27FC236}">
                    <a16:creationId xmlns:a16="http://schemas.microsoft.com/office/drawing/2014/main" id="{774FC6B3-65E6-4BD4-8D5E-D2314B4F8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7285" y="5607781"/>
                <a:ext cx="65330" cy="27800"/>
              </a:xfrm>
              <a:custGeom>
                <a:avLst/>
                <a:gdLst>
                  <a:gd name="T0" fmla="*/ 3 w 51"/>
                  <a:gd name="T1" fmla="*/ 21 h 21"/>
                  <a:gd name="T2" fmla="*/ 1 w 51"/>
                  <a:gd name="T3" fmla="*/ 20 h 21"/>
                  <a:gd name="T4" fmla="*/ 2 w 51"/>
                  <a:gd name="T5" fmla="*/ 17 h 21"/>
                  <a:gd name="T6" fmla="*/ 50 w 51"/>
                  <a:gd name="T7" fmla="*/ 17 h 21"/>
                  <a:gd name="T8" fmla="*/ 51 w 51"/>
                  <a:gd name="T9" fmla="*/ 19 h 21"/>
                  <a:gd name="T10" fmla="*/ 48 w 51"/>
                  <a:gd name="T11" fmla="*/ 20 h 21"/>
                  <a:gd name="T12" fmla="*/ 4 w 51"/>
                  <a:gd name="T13" fmla="*/ 21 h 21"/>
                  <a:gd name="T14" fmla="*/ 3 w 51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1">
                    <a:moveTo>
                      <a:pt x="3" y="21"/>
                    </a:moveTo>
                    <a:cubicBezTo>
                      <a:pt x="2" y="21"/>
                      <a:pt x="1" y="21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9" y="0"/>
                      <a:pt x="50" y="16"/>
                      <a:pt x="50" y="17"/>
                    </a:cubicBezTo>
                    <a:cubicBezTo>
                      <a:pt x="51" y="17"/>
                      <a:pt x="51" y="19"/>
                      <a:pt x="51" y="19"/>
                    </a:cubicBezTo>
                    <a:cubicBezTo>
                      <a:pt x="50" y="20"/>
                      <a:pt x="49" y="20"/>
                      <a:pt x="48" y="20"/>
                    </a:cubicBezTo>
                    <a:cubicBezTo>
                      <a:pt x="47" y="19"/>
                      <a:pt x="28" y="5"/>
                      <a:pt x="4" y="21"/>
                    </a:cubicBezTo>
                    <a:cubicBezTo>
                      <a:pt x="3" y="21"/>
                      <a:pt x="3" y="21"/>
                      <a:pt x="3" y="21"/>
                    </a:cubicBezTo>
                    <a:close/>
                  </a:path>
                </a:pathLst>
              </a:custGeom>
              <a:solidFill>
                <a:srgbClr val="8CE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Freeform 45">
                <a:extLst>
                  <a:ext uri="{FF2B5EF4-FFF2-40B4-BE49-F238E27FC236}">
                    <a16:creationId xmlns:a16="http://schemas.microsoft.com/office/drawing/2014/main" id="{22158F17-D427-42EE-B145-84D85A7D0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214" y="3336534"/>
                <a:ext cx="43090" cy="44480"/>
              </a:xfrm>
              <a:custGeom>
                <a:avLst/>
                <a:gdLst>
                  <a:gd name="T0" fmla="*/ 33 w 34"/>
                  <a:gd name="T1" fmla="*/ 20 h 35"/>
                  <a:gd name="T2" fmla="*/ 20 w 34"/>
                  <a:gd name="T3" fmla="*/ 1 h 35"/>
                  <a:gd name="T4" fmla="*/ 1 w 34"/>
                  <a:gd name="T5" fmla="*/ 16 h 35"/>
                  <a:gd name="T6" fmla="*/ 11 w 34"/>
                  <a:gd name="T7" fmla="*/ 34 h 35"/>
                  <a:gd name="T8" fmla="*/ 33 w 34"/>
                  <a:gd name="T9" fmla="*/ 2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5">
                    <a:moveTo>
                      <a:pt x="33" y="20"/>
                    </a:moveTo>
                    <a:cubicBezTo>
                      <a:pt x="34" y="10"/>
                      <a:pt x="30" y="2"/>
                      <a:pt x="20" y="1"/>
                    </a:cubicBezTo>
                    <a:cubicBezTo>
                      <a:pt x="11" y="0"/>
                      <a:pt x="2" y="7"/>
                      <a:pt x="1" y="16"/>
                    </a:cubicBezTo>
                    <a:cubicBezTo>
                      <a:pt x="0" y="26"/>
                      <a:pt x="2" y="33"/>
                      <a:pt x="11" y="34"/>
                    </a:cubicBezTo>
                    <a:cubicBezTo>
                      <a:pt x="21" y="35"/>
                      <a:pt x="32" y="29"/>
                      <a:pt x="33" y="20"/>
                    </a:cubicBezTo>
                    <a:close/>
                  </a:path>
                </a:pathLst>
              </a:custGeom>
              <a:solidFill>
                <a:srgbClr val="C286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 46">
                <a:extLst>
                  <a:ext uri="{FF2B5EF4-FFF2-40B4-BE49-F238E27FC236}">
                    <a16:creationId xmlns:a16="http://schemas.microsoft.com/office/drawing/2014/main" id="{F869EC9C-3FAD-4D26-8200-361158506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7364" y="3215604"/>
                <a:ext cx="200159" cy="293289"/>
              </a:xfrm>
              <a:custGeom>
                <a:avLst/>
                <a:gdLst>
                  <a:gd name="T0" fmla="*/ 58 w 157"/>
                  <a:gd name="T1" fmla="*/ 228 h 231"/>
                  <a:gd name="T2" fmla="*/ 134 w 157"/>
                  <a:gd name="T3" fmla="*/ 176 h 231"/>
                  <a:gd name="T4" fmla="*/ 150 w 157"/>
                  <a:gd name="T5" fmla="*/ 81 h 231"/>
                  <a:gd name="T6" fmla="*/ 91 w 157"/>
                  <a:gd name="T7" fmla="*/ 5 h 231"/>
                  <a:gd name="T8" fmla="*/ 78 w 157"/>
                  <a:gd name="T9" fmla="*/ 4 h 231"/>
                  <a:gd name="T10" fmla="*/ 4 w 157"/>
                  <a:gd name="T11" fmla="*/ 66 h 231"/>
                  <a:gd name="T12" fmla="*/ 1 w 157"/>
                  <a:gd name="T13" fmla="*/ 162 h 231"/>
                  <a:gd name="T14" fmla="*/ 58 w 157"/>
                  <a:gd name="T15" fmla="*/ 228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231">
                    <a:moveTo>
                      <a:pt x="58" y="228"/>
                    </a:moveTo>
                    <a:cubicBezTo>
                      <a:pt x="81" y="231"/>
                      <a:pt x="128" y="210"/>
                      <a:pt x="134" y="176"/>
                    </a:cubicBezTo>
                    <a:cubicBezTo>
                      <a:pt x="150" y="81"/>
                      <a:pt x="150" y="81"/>
                      <a:pt x="150" y="81"/>
                    </a:cubicBezTo>
                    <a:cubicBezTo>
                      <a:pt x="157" y="44"/>
                      <a:pt x="118" y="10"/>
                      <a:pt x="91" y="5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39" y="0"/>
                      <a:pt x="5" y="28"/>
                      <a:pt x="4" y="66"/>
                    </a:cubicBezTo>
                    <a:cubicBezTo>
                      <a:pt x="1" y="162"/>
                      <a:pt x="1" y="162"/>
                      <a:pt x="1" y="162"/>
                    </a:cubicBezTo>
                    <a:cubicBezTo>
                      <a:pt x="0" y="196"/>
                      <a:pt x="37" y="226"/>
                      <a:pt x="58" y="228"/>
                    </a:cubicBezTo>
                    <a:close/>
                  </a:path>
                </a:pathLst>
              </a:custGeom>
              <a:solidFill>
                <a:srgbClr val="DFB2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 47">
                <a:extLst>
                  <a:ext uri="{FF2B5EF4-FFF2-40B4-BE49-F238E27FC236}">
                    <a16:creationId xmlns:a16="http://schemas.microsoft.com/office/drawing/2014/main" id="{A716C993-42C8-40AE-899A-AFC65D659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9295" y="3319854"/>
                <a:ext cx="29190" cy="47260"/>
              </a:xfrm>
              <a:custGeom>
                <a:avLst/>
                <a:gdLst>
                  <a:gd name="T0" fmla="*/ 1 w 23"/>
                  <a:gd name="T1" fmla="*/ 17 h 38"/>
                  <a:gd name="T2" fmla="*/ 18 w 23"/>
                  <a:gd name="T3" fmla="*/ 37 h 38"/>
                  <a:gd name="T4" fmla="*/ 20 w 23"/>
                  <a:gd name="T5" fmla="*/ 4 h 38"/>
                  <a:gd name="T6" fmla="*/ 1 w 23"/>
                  <a:gd name="T7" fmla="*/ 1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8">
                    <a:moveTo>
                      <a:pt x="1" y="17"/>
                    </a:moveTo>
                    <a:cubicBezTo>
                      <a:pt x="0" y="26"/>
                      <a:pt x="9" y="37"/>
                      <a:pt x="18" y="37"/>
                    </a:cubicBezTo>
                    <a:cubicBezTo>
                      <a:pt x="23" y="38"/>
                      <a:pt x="22" y="4"/>
                      <a:pt x="20" y="4"/>
                    </a:cubicBezTo>
                    <a:cubicBezTo>
                      <a:pt x="11" y="0"/>
                      <a:pt x="3" y="7"/>
                      <a:pt x="1" y="17"/>
                    </a:cubicBezTo>
                    <a:close/>
                  </a:path>
                </a:pathLst>
              </a:custGeom>
              <a:solidFill>
                <a:srgbClr val="C286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 48">
                <a:extLst>
                  <a:ext uri="{FF2B5EF4-FFF2-40B4-BE49-F238E27FC236}">
                    <a16:creationId xmlns:a16="http://schemas.microsoft.com/office/drawing/2014/main" id="{6222454E-9C2F-4717-A04A-E0B47F009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415" y="3212824"/>
                <a:ext cx="204329" cy="152899"/>
              </a:xfrm>
              <a:custGeom>
                <a:avLst/>
                <a:gdLst>
                  <a:gd name="T0" fmla="*/ 8 w 161"/>
                  <a:gd name="T1" fmla="*/ 38 h 121"/>
                  <a:gd name="T2" fmla="*/ 37 w 161"/>
                  <a:gd name="T3" fmla="*/ 9 h 121"/>
                  <a:gd name="T4" fmla="*/ 57 w 161"/>
                  <a:gd name="T5" fmla="*/ 2 h 121"/>
                  <a:gd name="T6" fmla="*/ 121 w 161"/>
                  <a:gd name="T7" fmla="*/ 7 h 121"/>
                  <a:gd name="T8" fmla="*/ 146 w 161"/>
                  <a:gd name="T9" fmla="*/ 34 h 121"/>
                  <a:gd name="T10" fmla="*/ 159 w 161"/>
                  <a:gd name="T11" fmla="*/ 52 h 121"/>
                  <a:gd name="T12" fmla="*/ 156 w 161"/>
                  <a:gd name="T13" fmla="*/ 106 h 121"/>
                  <a:gd name="T14" fmla="*/ 150 w 161"/>
                  <a:gd name="T15" fmla="*/ 121 h 121"/>
                  <a:gd name="T16" fmla="*/ 148 w 161"/>
                  <a:gd name="T17" fmla="*/ 71 h 121"/>
                  <a:gd name="T18" fmla="*/ 78 w 161"/>
                  <a:gd name="T19" fmla="*/ 84 h 121"/>
                  <a:gd name="T20" fmla="*/ 15 w 161"/>
                  <a:gd name="T21" fmla="*/ 61 h 121"/>
                  <a:gd name="T22" fmla="*/ 9 w 161"/>
                  <a:gd name="T23" fmla="*/ 115 h 121"/>
                  <a:gd name="T24" fmla="*/ 2 w 161"/>
                  <a:gd name="T25" fmla="*/ 95 h 121"/>
                  <a:gd name="T26" fmla="*/ 8 w 161"/>
                  <a:gd name="T27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1" h="121">
                    <a:moveTo>
                      <a:pt x="8" y="38"/>
                    </a:moveTo>
                    <a:cubicBezTo>
                      <a:pt x="11" y="28"/>
                      <a:pt x="17" y="9"/>
                      <a:pt x="37" y="9"/>
                    </a:cubicBezTo>
                    <a:cubicBezTo>
                      <a:pt x="45" y="4"/>
                      <a:pt x="48" y="4"/>
                      <a:pt x="57" y="2"/>
                    </a:cubicBezTo>
                    <a:cubicBezTo>
                      <a:pt x="73" y="0"/>
                      <a:pt x="105" y="2"/>
                      <a:pt x="121" y="7"/>
                    </a:cubicBezTo>
                    <a:cubicBezTo>
                      <a:pt x="146" y="15"/>
                      <a:pt x="146" y="34"/>
                      <a:pt x="146" y="34"/>
                    </a:cubicBezTo>
                    <a:cubicBezTo>
                      <a:pt x="146" y="34"/>
                      <a:pt x="157" y="38"/>
                      <a:pt x="159" y="52"/>
                    </a:cubicBezTo>
                    <a:cubicBezTo>
                      <a:pt x="161" y="66"/>
                      <a:pt x="156" y="106"/>
                      <a:pt x="156" y="106"/>
                    </a:cubicBezTo>
                    <a:cubicBezTo>
                      <a:pt x="150" y="121"/>
                      <a:pt x="150" y="121"/>
                      <a:pt x="150" y="121"/>
                    </a:cubicBezTo>
                    <a:cubicBezTo>
                      <a:pt x="148" y="71"/>
                      <a:pt x="148" y="71"/>
                      <a:pt x="148" y="71"/>
                    </a:cubicBezTo>
                    <a:cubicBezTo>
                      <a:pt x="136" y="80"/>
                      <a:pt x="95" y="85"/>
                      <a:pt x="78" y="84"/>
                    </a:cubicBezTo>
                    <a:cubicBezTo>
                      <a:pt x="58" y="83"/>
                      <a:pt x="26" y="70"/>
                      <a:pt x="15" y="61"/>
                    </a:cubicBezTo>
                    <a:cubicBezTo>
                      <a:pt x="9" y="115"/>
                      <a:pt x="9" y="115"/>
                      <a:pt x="9" y="115"/>
                    </a:cubicBezTo>
                    <a:cubicBezTo>
                      <a:pt x="9" y="115"/>
                      <a:pt x="3" y="101"/>
                      <a:pt x="2" y="95"/>
                    </a:cubicBezTo>
                    <a:cubicBezTo>
                      <a:pt x="0" y="81"/>
                      <a:pt x="3" y="52"/>
                      <a:pt x="8" y="38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Freeform 49">
                <a:extLst>
                  <a:ext uri="{FF2B5EF4-FFF2-40B4-BE49-F238E27FC236}">
                    <a16:creationId xmlns:a16="http://schemas.microsoft.com/office/drawing/2014/main" id="{185FA24D-3AAF-4291-9215-5AE3A0895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006" y="3579782"/>
                <a:ext cx="197379" cy="628277"/>
              </a:xfrm>
              <a:custGeom>
                <a:avLst/>
                <a:gdLst>
                  <a:gd name="T0" fmla="*/ 155 w 155"/>
                  <a:gd name="T1" fmla="*/ 209 h 493"/>
                  <a:gd name="T2" fmla="*/ 130 w 155"/>
                  <a:gd name="T3" fmla="*/ 6 h 493"/>
                  <a:gd name="T4" fmla="*/ 77 w 155"/>
                  <a:gd name="T5" fmla="*/ 56 h 493"/>
                  <a:gd name="T6" fmla="*/ 23 w 155"/>
                  <a:gd name="T7" fmla="*/ 249 h 493"/>
                  <a:gd name="T8" fmla="*/ 17 w 155"/>
                  <a:gd name="T9" fmla="*/ 453 h 493"/>
                  <a:gd name="T10" fmla="*/ 46 w 155"/>
                  <a:gd name="T11" fmla="*/ 493 h 493"/>
                  <a:gd name="T12" fmla="*/ 125 w 155"/>
                  <a:gd name="T13" fmla="*/ 355 h 493"/>
                  <a:gd name="T14" fmla="*/ 155 w 155"/>
                  <a:gd name="T15" fmla="*/ 209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493">
                    <a:moveTo>
                      <a:pt x="155" y="209"/>
                    </a:moveTo>
                    <a:cubicBezTo>
                      <a:pt x="155" y="209"/>
                      <a:pt x="135" y="10"/>
                      <a:pt x="130" y="6"/>
                    </a:cubicBezTo>
                    <a:cubicBezTo>
                      <a:pt x="122" y="0"/>
                      <a:pt x="86" y="40"/>
                      <a:pt x="77" y="56"/>
                    </a:cubicBezTo>
                    <a:cubicBezTo>
                      <a:pt x="53" y="100"/>
                      <a:pt x="30" y="204"/>
                      <a:pt x="23" y="249"/>
                    </a:cubicBezTo>
                    <a:cubicBezTo>
                      <a:pt x="14" y="304"/>
                      <a:pt x="0" y="405"/>
                      <a:pt x="17" y="453"/>
                    </a:cubicBezTo>
                    <a:cubicBezTo>
                      <a:pt x="21" y="465"/>
                      <a:pt x="46" y="493"/>
                      <a:pt x="46" y="493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55" y="209"/>
                    </a:ln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F59B61F-FA4A-414B-99C8-F2FF41A03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0684" y="3759091"/>
                <a:ext cx="385028" cy="446188"/>
              </a:xfrm>
              <a:custGeom>
                <a:avLst/>
                <a:gdLst>
                  <a:gd name="T0" fmla="*/ 0 w 277"/>
                  <a:gd name="T1" fmla="*/ 321 h 321"/>
                  <a:gd name="T2" fmla="*/ 226 w 277"/>
                  <a:gd name="T3" fmla="*/ 321 h 321"/>
                  <a:gd name="T4" fmla="*/ 277 w 277"/>
                  <a:gd name="T5" fmla="*/ 0 h 321"/>
                  <a:gd name="T6" fmla="*/ 51 w 277"/>
                  <a:gd name="T7" fmla="*/ 0 h 321"/>
                  <a:gd name="T8" fmla="*/ 0 w 277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7" h="321">
                    <a:moveTo>
                      <a:pt x="0" y="321"/>
                    </a:moveTo>
                    <a:lnTo>
                      <a:pt x="226" y="321"/>
                    </a:lnTo>
                    <a:lnTo>
                      <a:pt x="277" y="0"/>
                    </a:lnTo>
                    <a:lnTo>
                      <a:pt x="51" y="0"/>
                    </a:lnTo>
                    <a:lnTo>
                      <a:pt x="0" y="3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Freeform 51">
                <a:extLst>
                  <a:ext uri="{FF2B5EF4-FFF2-40B4-BE49-F238E27FC236}">
                    <a16:creationId xmlns:a16="http://schemas.microsoft.com/office/drawing/2014/main" id="{BA53269F-4C77-4CFF-86D5-7AB4CDDD6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3354" y="3870291"/>
                <a:ext cx="216839" cy="189039"/>
              </a:xfrm>
              <a:custGeom>
                <a:avLst/>
                <a:gdLst>
                  <a:gd name="T0" fmla="*/ 132 w 170"/>
                  <a:gd name="T1" fmla="*/ 149 h 149"/>
                  <a:gd name="T2" fmla="*/ 87 w 170"/>
                  <a:gd name="T3" fmla="*/ 123 h 149"/>
                  <a:gd name="T4" fmla="*/ 49 w 170"/>
                  <a:gd name="T5" fmla="*/ 105 h 149"/>
                  <a:gd name="T6" fmla="*/ 4 w 170"/>
                  <a:gd name="T7" fmla="*/ 60 h 149"/>
                  <a:gd name="T8" fmla="*/ 6 w 170"/>
                  <a:gd name="T9" fmla="*/ 52 h 149"/>
                  <a:gd name="T10" fmla="*/ 2 w 170"/>
                  <a:gd name="T11" fmla="*/ 41 h 149"/>
                  <a:gd name="T12" fmla="*/ 16 w 170"/>
                  <a:gd name="T13" fmla="*/ 35 h 149"/>
                  <a:gd name="T14" fmla="*/ 32 w 170"/>
                  <a:gd name="T15" fmla="*/ 38 h 149"/>
                  <a:gd name="T16" fmla="*/ 66 w 170"/>
                  <a:gd name="T17" fmla="*/ 38 h 149"/>
                  <a:gd name="T18" fmla="*/ 40 w 170"/>
                  <a:gd name="T19" fmla="*/ 28 h 149"/>
                  <a:gd name="T20" fmla="*/ 14 w 170"/>
                  <a:gd name="T21" fmla="*/ 21 h 149"/>
                  <a:gd name="T22" fmla="*/ 25 w 170"/>
                  <a:gd name="T23" fmla="*/ 10 h 149"/>
                  <a:gd name="T24" fmla="*/ 114 w 170"/>
                  <a:gd name="T25" fmla="*/ 21 h 149"/>
                  <a:gd name="T26" fmla="*/ 121 w 170"/>
                  <a:gd name="T27" fmla="*/ 0 h 149"/>
                  <a:gd name="T28" fmla="*/ 149 w 170"/>
                  <a:gd name="T29" fmla="*/ 22 h 149"/>
                  <a:gd name="T30" fmla="*/ 170 w 170"/>
                  <a:gd name="T31" fmla="*/ 97 h 149"/>
                  <a:gd name="T32" fmla="*/ 132 w 170"/>
                  <a:gd name="T33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0" h="149">
                    <a:moveTo>
                      <a:pt x="132" y="149"/>
                    </a:moveTo>
                    <a:cubicBezTo>
                      <a:pt x="87" y="123"/>
                      <a:pt x="87" y="123"/>
                      <a:pt x="87" y="123"/>
                    </a:cubicBezTo>
                    <a:cubicBezTo>
                      <a:pt x="87" y="123"/>
                      <a:pt x="56" y="110"/>
                      <a:pt x="49" y="105"/>
                    </a:cubicBezTo>
                    <a:cubicBezTo>
                      <a:pt x="44" y="101"/>
                      <a:pt x="5" y="74"/>
                      <a:pt x="4" y="60"/>
                    </a:cubicBezTo>
                    <a:cubicBezTo>
                      <a:pt x="4" y="59"/>
                      <a:pt x="6" y="52"/>
                      <a:pt x="6" y="52"/>
                    </a:cubicBezTo>
                    <a:cubicBezTo>
                      <a:pt x="6" y="52"/>
                      <a:pt x="3" y="44"/>
                      <a:pt x="2" y="41"/>
                    </a:cubicBezTo>
                    <a:cubicBezTo>
                      <a:pt x="0" y="39"/>
                      <a:pt x="7" y="34"/>
                      <a:pt x="16" y="35"/>
                    </a:cubicBezTo>
                    <a:cubicBezTo>
                      <a:pt x="17" y="35"/>
                      <a:pt x="24" y="36"/>
                      <a:pt x="32" y="38"/>
                    </a:cubicBezTo>
                    <a:cubicBezTo>
                      <a:pt x="44" y="40"/>
                      <a:pt x="66" y="38"/>
                      <a:pt x="66" y="38"/>
                    </a:cubicBezTo>
                    <a:cubicBezTo>
                      <a:pt x="66" y="38"/>
                      <a:pt x="52" y="30"/>
                      <a:pt x="40" y="28"/>
                    </a:cubicBezTo>
                    <a:cubicBezTo>
                      <a:pt x="33" y="27"/>
                      <a:pt x="19" y="27"/>
                      <a:pt x="14" y="21"/>
                    </a:cubicBezTo>
                    <a:cubicBezTo>
                      <a:pt x="13" y="19"/>
                      <a:pt x="14" y="12"/>
                      <a:pt x="25" y="10"/>
                    </a:cubicBezTo>
                    <a:cubicBezTo>
                      <a:pt x="34" y="8"/>
                      <a:pt x="83" y="14"/>
                      <a:pt x="114" y="21"/>
                    </a:cubicBezTo>
                    <a:cubicBezTo>
                      <a:pt x="117" y="22"/>
                      <a:pt x="121" y="0"/>
                      <a:pt x="121" y="0"/>
                    </a:cubicBezTo>
                    <a:cubicBezTo>
                      <a:pt x="130" y="0"/>
                      <a:pt x="145" y="15"/>
                      <a:pt x="149" y="22"/>
                    </a:cubicBezTo>
                    <a:cubicBezTo>
                      <a:pt x="159" y="36"/>
                      <a:pt x="170" y="97"/>
                      <a:pt x="170" y="97"/>
                    </a:cubicBezTo>
                    <a:lnTo>
                      <a:pt x="132" y="149"/>
                    </a:lnTo>
                    <a:close/>
                  </a:path>
                </a:pathLst>
              </a:custGeom>
              <a:solidFill>
                <a:srgbClr val="DFB2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Freeform 52">
                <a:extLst>
                  <a:ext uri="{FF2B5EF4-FFF2-40B4-BE49-F238E27FC236}">
                    <a16:creationId xmlns:a16="http://schemas.microsoft.com/office/drawing/2014/main" id="{801D2260-EA0F-4377-B905-59F5D67AF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1503" y="3973150"/>
                <a:ext cx="184869" cy="172359"/>
              </a:xfrm>
              <a:custGeom>
                <a:avLst/>
                <a:gdLst>
                  <a:gd name="T0" fmla="*/ 0 w 145"/>
                  <a:gd name="T1" fmla="*/ 54 h 135"/>
                  <a:gd name="T2" fmla="*/ 79 w 145"/>
                  <a:gd name="T3" fmla="*/ 0 h 135"/>
                  <a:gd name="T4" fmla="*/ 145 w 145"/>
                  <a:gd name="T5" fmla="*/ 83 h 135"/>
                  <a:gd name="T6" fmla="*/ 117 w 145"/>
                  <a:gd name="T7" fmla="*/ 126 h 135"/>
                  <a:gd name="T8" fmla="*/ 80 w 145"/>
                  <a:gd name="T9" fmla="*/ 133 h 135"/>
                  <a:gd name="T10" fmla="*/ 0 w 145"/>
                  <a:gd name="T11" fmla="*/ 54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" h="135">
                    <a:moveTo>
                      <a:pt x="0" y="54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79" y="0"/>
                      <a:pt x="145" y="56"/>
                      <a:pt x="145" y="83"/>
                    </a:cubicBezTo>
                    <a:cubicBezTo>
                      <a:pt x="145" y="95"/>
                      <a:pt x="128" y="118"/>
                      <a:pt x="117" y="126"/>
                    </a:cubicBezTo>
                    <a:cubicBezTo>
                      <a:pt x="109" y="131"/>
                      <a:pt x="89" y="135"/>
                      <a:pt x="80" y="133"/>
                    </a:cubicBezTo>
                    <a:cubicBezTo>
                      <a:pt x="50" y="125"/>
                      <a:pt x="0" y="54"/>
                      <a:pt x="0" y="54"/>
                    </a:cubicBez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Freeform 53">
                <a:extLst>
                  <a:ext uri="{FF2B5EF4-FFF2-40B4-BE49-F238E27FC236}">
                    <a16:creationId xmlns:a16="http://schemas.microsoft.com/office/drawing/2014/main" id="{CCD75A40-FBE3-4FD1-9283-1723104B7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2305" y="3930060"/>
                <a:ext cx="247419" cy="147339"/>
              </a:xfrm>
              <a:custGeom>
                <a:avLst/>
                <a:gdLst>
                  <a:gd name="T0" fmla="*/ 37 w 194"/>
                  <a:gd name="T1" fmla="*/ 116 h 116"/>
                  <a:gd name="T2" fmla="*/ 113 w 194"/>
                  <a:gd name="T3" fmla="*/ 109 h 116"/>
                  <a:gd name="T4" fmla="*/ 145 w 194"/>
                  <a:gd name="T5" fmla="*/ 100 h 116"/>
                  <a:gd name="T6" fmla="*/ 190 w 194"/>
                  <a:gd name="T7" fmla="*/ 56 h 116"/>
                  <a:gd name="T8" fmla="*/ 188 w 194"/>
                  <a:gd name="T9" fmla="*/ 47 h 116"/>
                  <a:gd name="T10" fmla="*/ 193 w 194"/>
                  <a:gd name="T11" fmla="*/ 37 h 116"/>
                  <a:gd name="T12" fmla="*/ 178 w 194"/>
                  <a:gd name="T13" fmla="*/ 30 h 116"/>
                  <a:gd name="T14" fmla="*/ 162 w 194"/>
                  <a:gd name="T15" fmla="*/ 33 h 116"/>
                  <a:gd name="T16" fmla="*/ 129 w 194"/>
                  <a:gd name="T17" fmla="*/ 34 h 116"/>
                  <a:gd name="T18" fmla="*/ 155 w 194"/>
                  <a:gd name="T19" fmla="*/ 25 h 116"/>
                  <a:gd name="T20" fmla="*/ 180 w 194"/>
                  <a:gd name="T21" fmla="*/ 18 h 116"/>
                  <a:gd name="T22" fmla="*/ 170 w 194"/>
                  <a:gd name="T23" fmla="*/ 7 h 116"/>
                  <a:gd name="T24" fmla="*/ 81 w 194"/>
                  <a:gd name="T25" fmla="*/ 16 h 116"/>
                  <a:gd name="T26" fmla="*/ 77 w 194"/>
                  <a:gd name="T27" fmla="*/ 13 h 116"/>
                  <a:gd name="T28" fmla="*/ 80 w 194"/>
                  <a:gd name="T29" fmla="*/ 0 h 116"/>
                  <a:gd name="T30" fmla="*/ 54 w 194"/>
                  <a:gd name="T31" fmla="*/ 18 h 116"/>
                  <a:gd name="T32" fmla="*/ 0 w 194"/>
                  <a:gd name="T33" fmla="*/ 64 h 116"/>
                  <a:gd name="T34" fmla="*/ 37 w 194"/>
                  <a:gd name="T35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4" h="116">
                    <a:moveTo>
                      <a:pt x="37" y="116"/>
                    </a:move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09"/>
                      <a:pt x="138" y="105"/>
                      <a:pt x="145" y="100"/>
                    </a:cubicBezTo>
                    <a:cubicBezTo>
                      <a:pt x="150" y="96"/>
                      <a:pt x="189" y="70"/>
                      <a:pt x="190" y="56"/>
                    </a:cubicBezTo>
                    <a:cubicBezTo>
                      <a:pt x="191" y="54"/>
                      <a:pt x="188" y="47"/>
                      <a:pt x="188" y="47"/>
                    </a:cubicBezTo>
                    <a:cubicBezTo>
                      <a:pt x="188" y="47"/>
                      <a:pt x="191" y="39"/>
                      <a:pt x="193" y="37"/>
                    </a:cubicBezTo>
                    <a:cubicBezTo>
                      <a:pt x="194" y="34"/>
                      <a:pt x="187" y="29"/>
                      <a:pt x="178" y="30"/>
                    </a:cubicBezTo>
                    <a:cubicBezTo>
                      <a:pt x="177" y="30"/>
                      <a:pt x="170" y="32"/>
                      <a:pt x="162" y="33"/>
                    </a:cubicBezTo>
                    <a:cubicBezTo>
                      <a:pt x="150" y="36"/>
                      <a:pt x="129" y="34"/>
                      <a:pt x="129" y="34"/>
                    </a:cubicBezTo>
                    <a:cubicBezTo>
                      <a:pt x="129" y="34"/>
                      <a:pt x="143" y="27"/>
                      <a:pt x="155" y="25"/>
                    </a:cubicBezTo>
                    <a:cubicBezTo>
                      <a:pt x="161" y="24"/>
                      <a:pt x="176" y="24"/>
                      <a:pt x="180" y="18"/>
                    </a:cubicBezTo>
                    <a:cubicBezTo>
                      <a:pt x="182" y="16"/>
                      <a:pt x="180" y="9"/>
                      <a:pt x="170" y="7"/>
                    </a:cubicBezTo>
                    <a:cubicBezTo>
                      <a:pt x="161" y="5"/>
                      <a:pt x="110" y="7"/>
                      <a:pt x="81" y="16"/>
                    </a:cubicBezTo>
                    <a:cubicBezTo>
                      <a:pt x="79" y="17"/>
                      <a:pt x="77" y="15"/>
                      <a:pt x="77" y="13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63" y="1"/>
                      <a:pt x="59" y="12"/>
                      <a:pt x="54" y="18"/>
                    </a:cubicBezTo>
                    <a:cubicBezTo>
                      <a:pt x="43" y="32"/>
                      <a:pt x="0" y="64"/>
                      <a:pt x="0" y="64"/>
                    </a:cubicBezTo>
                    <a:lnTo>
                      <a:pt x="37" y="116"/>
                    </a:lnTo>
                    <a:close/>
                  </a:path>
                </a:pathLst>
              </a:custGeom>
              <a:solidFill>
                <a:srgbClr val="DFB2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Freeform 54">
                <a:extLst>
                  <a:ext uri="{FF2B5EF4-FFF2-40B4-BE49-F238E27FC236}">
                    <a16:creationId xmlns:a16="http://schemas.microsoft.com/office/drawing/2014/main" id="{A439524F-039F-4D44-85C3-4563409A6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7436" y="3992610"/>
                <a:ext cx="269659" cy="226569"/>
              </a:xfrm>
              <a:custGeom>
                <a:avLst/>
                <a:gdLst>
                  <a:gd name="T0" fmla="*/ 212 w 212"/>
                  <a:gd name="T1" fmla="*/ 77 h 178"/>
                  <a:gd name="T2" fmla="*/ 146 w 212"/>
                  <a:gd name="T3" fmla="*/ 0 h 178"/>
                  <a:gd name="T4" fmla="*/ 81 w 212"/>
                  <a:gd name="T5" fmla="*/ 33 h 178"/>
                  <a:gd name="T6" fmla="*/ 6 w 212"/>
                  <a:gd name="T7" fmla="*/ 113 h 178"/>
                  <a:gd name="T8" fmla="*/ 6 w 212"/>
                  <a:gd name="T9" fmla="*/ 169 h 178"/>
                  <a:gd name="T10" fmla="*/ 64 w 212"/>
                  <a:gd name="T11" fmla="*/ 173 h 178"/>
                  <a:gd name="T12" fmla="*/ 212 w 212"/>
                  <a:gd name="T13" fmla="*/ 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2" h="178">
                    <a:moveTo>
                      <a:pt x="212" y="77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6" y="113"/>
                      <a:pt x="6" y="113"/>
                      <a:pt x="6" y="113"/>
                    </a:cubicBezTo>
                    <a:cubicBezTo>
                      <a:pt x="6" y="113"/>
                      <a:pt x="0" y="164"/>
                      <a:pt x="6" y="169"/>
                    </a:cubicBezTo>
                    <a:cubicBezTo>
                      <a:pt x="13" y="176"/>
                      <a:pt x="50" y="178"/>
                      <a:pt x="64" y="173"/>
                    </a:cubicBezTo>
                    <a:cubicBezTo>
                      <a:pt x="106" y="160"/>
                      <a:pt x="212" y="77"/>
                      <a:pt x="212" y="77"/>
                    </a:cubicBez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681CC62-F0F6-4D34-AD5C-338BB3E1FCFA}"/>
                </a:ext>
              </a:extLst>
            </p:cNvPr>
            <p:cNvGrpSpPr/>
            <p:nvPr/>
          </p:nvGrpSpPr>
          <p:grpSpPr>
            <a:xfrm>
              <a:off x="7358070" y="3030746"/>
              <a:ext cx="690827" cy="2585387"/>
              <a:chOff x="8651297" y="3222554"/>
              <a:chExt cx="690827" cy="2585387"/>
            </a:xfrm>
          </p:grpSpPr>
          <p:sp>
            <p:nvSpPr>
              <p:cNvPr id="93" name="Freeform 55">
                <a:extLst>
                  <a:ext uri="{FF2B5EF4-FFF2-40B4-BE49-F238E27FC236}">
                    <a16:creationId xmlns:a16="http://schemas.microsoft.com/office/drawing/2014/main" id="{52C4F068-AE5A-4382-99CD-60FB4E75C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2807" y="3400473"/>
                <a:ext cx="138999" cy="257149"/>
              </a:xfrm>
              <a:custGeom>
                <a:avLst/>
                <a:gdLst>
                  <a:gd name="T0" fmla="*/ 8 w 109"/>
                  <a:gd name="T1" fmla="*/ 194 h 202"/>
                  <a:gd name="T2" fmla="*/ 9 w 109"/>
                  <a:gd name="T3" fmla="*/ 153 h 202"/>
                  <a:gd name="T4" fmla="*/ 2 w 109"/>
                  <a:gd name="T5" fmla="*/ 99 h 202"/>
                  <a:gd name="T6" fmla="*/ 3 w 109"/>
                  <a:gd name="T7" fmla="*/ 65 h 202"/>
                  <a:gd name="T8" fmla="*/ 38 w 109"/>
                  <a:gd name="T9" fmla="*/ 9 h 202"/>
                  <a:gd name="T10" fmla="*/ 48 w 109"/>
                  <a:gd name="T11" fmla="*/ 9 h 202"/>
                  <a:gd name="T12" fmla="*/ 57 w 109"/>
                  <a:gd name="T13" fmla="*/ 2 h 202"/>
                  <a:gd name="T14" fmla="*/ 63 w 109"/>
                  <a:gd name="T15" fmla="*/ 2 h 202"/>
                  <a:gd name="T16" fmla="*/ 65 w 109"/>
                  <a:gd name="T17" fmla="*/ 7 h 202"/>
                  <a:gd name="T18" fmla="*/ 73 w 109"/>
                  <a:gd name="T19" fmla="*/ 5 h 202"/>
                  <a:gd name="T20" fmla="*/ 77 w 109"/>
                  <a:gd name="T21" fmla="*/ 10 h 202"/>
                  <a:gd name="T22" fmla="*/ 63 w 109"/>
                  <a:gd name="T23" fmla="*/ 47 h 202"/>
                  <a:gd name="T24" fmla="*/ 66 w 109"/>
                  <a:gd name="T25" fmla="*/ 84 h 202"/>
                  <a:gd name="T26" fmla="*/ 70 w 109"/>
                  <a:gd name="T27" fmla="*/ 93 h 202"/>
                  <a:gd name="T28" fmla="*/ 79 w 109"/>
                  <a:gd name="T29" fmla="*/ 72 h 202"/>
                  <a:gd name="T30" fmla="*/ 100 w 109"/>
                  <a:gd name="T31" fmla="*/ 45 h 202"/>
                  <a:gd name="T32" fmla="*/ 109 w 109"/>
                  <a:gd name="T33" fmla="*/ 49 h 202"/>
                  <a:gd name="T34" fmla="*/ 97 w 109"/>
                  <a:gd name="T35" fmla="*/ 86 h 202"/>
                  <a:gd name="T36" fmla="*/ 93 w 109"/>
                  <a:gd name="T37" fmla="*/ 127 h 202"/>
                  <a:gd name="T38" fmla="*/ 70 w 109"/>
                  <a:gd name="T39" fmla="*/ 162 h 202"/>
                  <a:gd name="T40" fmla="*/ 65 w 109"/>
                  <a:gd name="T41" fmla="*/ 202 h 202"/>
                  <a:gd name="T42" fmla="*/ 8 w 109"/>
                  <a:gd name="T43" fmla="*/ 194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9" h="202">
                    <a:moveTo>
                      <a:pt x="8" y="194"/>
                    </a:moveTo>
                    <a:cubicBezTo>
                      <a:pt x="9" y="153"/>
                      <a:pt x="9" y="153"/>
                      <a:pt x="9" y="153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2" y="99"/>
                      <a:pt x="0" y="73"/>
                      <a:pt x="3" y="65"/>
                    </a:cubicBezTo>
                    <a:cubicBezTo>
                      <a:pt x="6" y="59"/>
                      <a:pt x="24" y="14"/>
                      <a:pt x="38" y="9"/>
                    </a:cubicBezTo>
                    <a:cubicBezTo>
                      <a:pt x="40" y="8"/>
                      <a:pt x="48" y="9"/>
                      <a:pt x="48" y="9"/>
                    </a:cubicBezTo>
                    <a:cubicBezTo>
                      <a:pt x="48" y="9"/>
                      <a:pt x="54" y="3"/>
                      <a:pt x="57" y="2"/>
                    </a:cubicBezTo>
                    <a:cubicBezTo>
                      <a:pt x="59" y="1"/>
                      <a:pt x="62" y="0"/>
                      <a:pt x="63" y="2"/>
                    </a:cubicBezTo>
                    <a:cubicBezTo>
                      <a:pt x="64" y="3"/>
                      <a:pt x="65" y="7"/>
                      <a:pt x="65" y="7"/>
                    </a:cubicBezTo>
                    <a:cubicBezTo>
                      <a:pt x="65" y="7"/>
                      <a:pt x="71" y="5"/>
                      <a:pt x="73" y="5"/>
                    </a:cubicBezTo>
                    <a:cubicBezTo>
                      <a:pt x="75" y="6"/>
                      <a:pt x="76" y="8"/>
                      <a:pt x="77" y="10"/>
                    </a:cubicBezTo>
                    <a:cubicBezTo>
                      <a:pt x="80" y="19"/>
                      <a:pt x="66" y="38"/>
                      <a:pt x="63" y="47"/>
                    </a:cubicBezTo>
                    <a:cubicBezTo>
                      <a:pt x="62" y="53"/>
                      <a:pt x="63" y="56"/>
                      <a:pt x="66" y="84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70" y="93"/>
                      <a:pt x="79" y="78"/>
                      <a:pt x="79" y="72"/>
                    </a:cubicBezTo>
                    <a:cubicBezTo>
                      <a:pt x="82" y="48"/>
                      <a:pt x="94" y="45"/>
                      <a:pt x="100" y="45"/>
                    </a:cubicBezTo>
                    <a:cubicBezTo>
                      <a:pt x="103" y="45"/>
                      <a:pt x="109" y="49"/>
                      <a:pt x="109" y="49"/>
                    </a:cubicBezTo>
                    <a:cubicBezTo>
                      <a:pt x="109" y="49"/>
                      <a:pt x="99" y="77"/>
                      <a:pt x="97" y="86"/>
                    </a:cubicBezTo>
                    <a:cubicBezTo>
                      <a:pt x="95" y="96"/>
                      <a:pt x="100" y="107"/>
                      <a:pt x="93" y="127"/>
                    </a:cubicBezTo>
                    <a:cubicBezTo>
                      <a:pt x="91" y="132"/>
                      <a:pt x="70" y="159"/>
                      <a:pt x="70" y="162"/>
                    </a:cubicBezTo>
                    <a:cubicBezTo>
                      <a:pt x="69" y="164"/>
                      <a:pt x="65" y="202"/>
                      <a:pt x="65" y="202"/>
                    </a:cubicBezTo>
                    <a:lnTo>
                      <a:pt x="8" y="194"/>
                    </a:ln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Freeform 56">
                <a:extLst>
                  <a:ext uri="{FF2B5EF4-FFF2-40B4-BE49-F238E27FC236}">
                    <a16:creationId xmlns:a16="http://schemas.microsoft.com/office/drawing/2014/main" id="{E08A1859-50F7-4E42-A1DA-B287B5221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3116" y="3361553"/>
                <a:ext cx="136219" cy="200159"/>
              </a:xfrm>
              <a:custGeom>
                <a:avLst/>
                <a:gdLst>
                  <a:gd name="T0" fmla="*/ 49 w 107"/>
                  <a:gd name="T1" fmla="*/ 156 h 157"/>
                  <a:gd name="T2" fmla="*/ 96 w 107"/>
                  <a:gd name="T3" fmla="*/ 140 h 157"/>
                  <a:gd name="T4" fmla="*/ 106 w 107"/>
                  <a:gd name="T5" fmla="*/ 129 h 157"/>
                  <a:gd name="T6" fmla="*/ 73 w 107"/>
                  <a:gd name="T7" fmla="*/ 7 h 157"/>
                  <a:gd name="T8" fmla="*/ 59 w 107"/>
                  <a:gd name="T9" fmla="*/ 1 h 157"/>
                  <a:gd name="T10" fmla="*/ 11 w 107"/>
                  <a:gd name="T11" fmla="*/ 17 h 157"/>
                  <a:gd name="T12" fmla="*/ 2 w 107"/>
                  <a:gd name="T13" fmla="*/ 28 h 157"/>
                  <a:gd name="T14" fmla="*/ 34 w 107"/>
                  <a:gd name="T15" fmla="*/ 149 h 157"/>
                  <a:gd name="T16" fmla="*/ 49 w 107"/>
                  <a:gd name="T17" fmla="*/ 156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57">
                    <a:moveTo>
                      <a:pt x="49" y="156"/>
                    </a:moveTo>
                    <a:cubicBezTo>
                      <a:pt x="96" y="140"/>
                      <a:pt x="96" y="140"/>
                      <a:pt x="96" y="140"/>
                    </a:cubicBezTo>
                    <a:cubicBezTo>
                      <a:pt x="103" y="139"/>
                      <a:pt x="107" y="134"/>
                      <a:pt x="106" y="129"/>
                    </a:cubicBezTo>
                    <a:cubicBezTo>
                      <a:pt x="73" y="7"/>
                      <a:pt x="73" y="7"/>
                      <a:pt x="73" y="7"/>
                    </a:cubicBezTo>
                    <a:cubicBezTo>
                      <a:pt x="72" y="3"/>
                      <a:pt x="66" y="0"/>
                      <a:pt x="59" y="1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5" y="18"/>
                      <a:pt x="0" y="23"/>
                      <a:pt x="2" y="28"/>
                    </a:cubicBezTo>
                    <a:cubicBezTo>
                      <a:pt x="34" y="149"/>
                      <a:pt x="34" y="149"/>
                      <a:pt x="34" y="149"/>
                    </a:cubicBezTo>
                    <a:cubicBezTo>
                      <a:pt x="35" y="154"/>
                      <a:pt x="42" y="157"/>
                      <a:pt x="49" y="156"/>
                    </a:cubicBezTo>
                    <a:close/>
                  </a:path>
                </a:pathLst>
              </a:custGeom>
              <a:solidFill>
                <a:srgbClr val="0043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Freeform 57">
                <a:extLst>
                  <a:ext uri="{FF2B5EF4-FFF2-40B4-BE49-F238E27FC236}">
                    <a16:creationId xmlns:a16="http://schemas.microsoft.com/office/drawing/2014/main" id="{5935A45A-93B4-4547-B123-FACCFA4219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8947" y="5539671"/>
                <a:ext cx="118150" cy="133439"/>
              </a:xfrm>
              <a:custGeom>
                <a:avLst/>
                <a:gdLst>
                  <a:gd name="T0" fmla="*/ 67 w 85"/>
                  <a:gd name="T1" fmla="*/ 0 h 96"/>
                  <a:gd name="T2" fmla="*/ 67 w 85"/>
                  <a:gd name="T3" fmla="*/ 48 h 96"/>
                  <a:gd name="T4" fmla="*/ 85 w 85"/>
                  <a:gd name="T5" fmla="*/ 96 h 96"/>
                  <a:gd name="T6" fmla="*/ 6 w 85"/>
                  <a:gd name="T7" fmla="*/ 89 h 96"/>
                  <a:gd name="T8" fmla="*/ 0 w 85"/>
                  <a:gd name="T9" fmla="*/ 15 h 96"/>
                  <a:gd name="T10" fmla="*/ 67 w 85"/>
                  <a:gd name="T1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5" h="96">
                    <a:moveTo>
                      <a:pt x="67" y="0"/>
                    </a:moveTo>
                    <a:lnTo>
                      <a:pt x="67" y="48"/>
                    </a:lnTo>
                    <a:lnTo>
                      <a:pt x="85" y="96"/>
                    </a:lnTo>
                    <a:lnTo>
                      <a:pt x="6" y="89"/>
                    </a:lnTo>
                    <a:lnTo>
                      <a:pt x="0" y="15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39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 58">
                <a:extLst>
                  <a:ext uri="{FF2B5EF4-FFF2-40B4-BE49-F238E27FC236}">
                    <a16:creationId xmlns:a16="http://schemas.microsoft.com/office/drawing/2014/main" id="{AFF4B248-36D4-43BE-AFAE-B349E04C1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7446" y="5575811"/>
                <a:ext cx="111199" cy="140390"/>
              </a:xfrm>
              <a:custGeom>
                <a:avLst/>
                <a:gdLst>
                  <a:gd name="T0" fmla="*/ 83 w 87"/>
                  <a:gd name="T1" fmla="*/ 5 h 111"/>
                  <a:gd name="T2" fmla="*/ 79 w 87"/>
                  <a:gd name="T3" fmla="*/ 52 h 111"/>
                  <a:gd name="T4" fmla="*/ 87 w 87"/>
                  <a:gd name="T5" fmla="*/ 111 h 111"/>
                  <a:gd name="T6" fmla="*/ 0 w 87"/>
                  <a:gd name="T7" fmla="*/ 103 h 111"/>
                  <a:gd name="T8" fmla="*/ 11 w 87"/>
                  <a:gd name="T9" fmla="*/ 0 h 111"/>
                  <a:gd name="T10" fmla="*/ 83 w 87"/>
                  <a:gd name="T11" fmla="*/ 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11">
                    <a:moveTo>
                      <a:pt x="83" y="5"/>
                    </a:moveTo>
                    <a:cubicBezTo>
                      <a:pt x="83" y="5"/>
                      <a:pt x="77" y="38"/>
                      <a:pt x="79" y="52"/>
                    </a:cubicBezTo>
                    <a:cubicBezTo>
                      <a:pt x="81" y="62"/>
                      <a:pt x="87" y="111"/>
                      <a:pt x="87" y="111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83" y="5"/>
                    </a:lnTo>
                    <a:close/>
                  </a:path>
                </a:pathLst>
              </a:custGeom>
              <a:solidFill>
                <a:srgbClr val="0039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 59">
                <a:extLst>
                  <a:ext uri="{FF2B5EF4-FFF2-40B4-BE49-F238E27FC236}">
                    <a16:creationId xmlns:a16="http://schemas.microsoft.com/office/drawing/2014/main" id="{5480DACA-9AFF-4C70-801C-2A1D7B195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4046" y="3501942"/>
                <a:ext cx="140390" cy="165410"/>
              </a:xfrm>
              <a:custGeom>
                <a:avLst/>
                <a:gdLst>
                  <a:gd name="T0" fmla="*/ 0 w 101"/>
                  <a:gd name="T1" fmla="*/ 114 h 119"/>
                  <a:gd name="T2" fmla="*/ 98 w 101"/>
                  <a:gd name="T3" fmla="*/ 119 h 119"/>
                  <a:gd name="T4" fmla="*/ 101 w 101"/>
                  <a:gd name="T5" fmla="*/ 0 h 119"/>
                  <a:gd name="T6" fmla="*/ 9 w 101"/>
                  <a:gd name="T7" fmla="*/ 11 h 119"/>
                  <a:gd name="T8" fmla="*/ 0 w 101"/>
                  <a:gd name="T9" fmla="*/ 11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19">
                    <a:moveTo>
                      <a:pt x="0" y="114"/>
                    </a:moveTo>
                    <a:lnTo>
                      <a:pt x="98" y="119"/>
                    </a:lnTo>
                    <a:lnTo>
                      <a:pt x="101" y="0"/>
                    </a:lnTo>
                    <a:lnTo>
                      <a:pt x="9" y="1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8" name="Picture 60">
                <a:extLst>
                  <a:ext uri="{FF2B5EF4-FFF2-40B4-BE49-F238E27FC236}">
                    <a16:creationId xmlns:a16="http://schemas.microsoft.com/office/drawing/2014/main" id="{66FDD052-7BEE-4B70-81B5-24F8C956D9B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93315" y="3386573"/>
                <a:ext cx="56990" cy="569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9" name="Freeform 61">
                <a:extLst>
                  <a:ext uri="{FF2B5EF4-FFF2-40B4-BE49-F238E27FC236}">
                    <a16:creationId xmlns:a16="http://schemas.microsoft.com/office/drawing/2014/main" id="{5E38A579-D087-4ABE-91E7-863E945BA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3196" y="3279543"/>
                <a:ext cx="186259" cy="287729"/>
              </a:xfrm>
              <a:custGeom>
                <a:avLst/>
                <a:gdLst>
                  <a:gd name="T0" fmla="*/ 24 w 146"/>
                  <a:gd name="T1" fmla="*/ 223 h 226"/>
                  <a:gd name="T2" fmla="*/ 40 w 146"/>
                  <a:gd name="T3" fmla="*/ 221 h 226"/>
                  <a:gd name="T4" fmla="*/ 75 w 146"/>
                  <a:gd name="T5" fmla="*/ 225 h 226"/>
                  <a:gd name="T6" fmla="*/ 127 w 146"/>
                  <a:gd name="T7" fmla="*/ 175 h 226"/>
                  <a:gd name="T8" fmla="*/ 146 w 146"/>
                  <a:gd name="T9" fmla="*/ 10 h 226"/>
                  <a:gd name="T10" fmla="*/ 6 w 146"/>
                  <a:gd name="T11" fmla="*/ 0 h 226"/>
                  <a:gd name="T12" fmla="*/ 5 w 146"/>
                  <a:gd name="T13" fmla="*/ 182 h 226"/>
                  <a:gd name="T14" fmla="*/ 24 w 146"/>
                  <a:gd name="T15" fmla="*/ 223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6" h="226">
                    <a:moveTo>
                      <a:pt x="24" y="223"/>
                    </a:moveTo>
                    <a:cubicBezTo>
                      <a:pt x="31" y="223"/>
                      <a:pt x="35" y="221"/>
                      <a:pt x="40" y="221"/>
                    </a:cubicBezTo>
                    <a:cubicBezTo>
                      <a:pt x="48" y="221"/>
                      <a:pt x="62" y="226"/>
                      <a:pt x="75" y="225"/>
                    </a:cubicBezTo>
                    <a:cubicBezTo>
                      <a:pt x="93" y="223"/>
                      <a:pt x="120" y="218"/>
                      <a:pt x="127" y="175"/>
                    </a:cubicBezTo>
                    <a:cubicBezTo>
                      <a:pt x="137" y="119"/>
                      <a:pt x="146" y="10"/>
                      <a:pt x="146" y="1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125"/>
                      <a:pt x="5" y="182"/>
                    </a:cubicBezTo>
                    <a:cubicBezTo>
                      <a:pt x="7" y="202"/>
                      <a:pt x="5" y="222"/>
                      <a:pt x="24" y="223"/>
                    </a:cubicBez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62">
                <a:extLst>
                  <a:ext uri="{FF2B5EF4-FFF2-40B4-BE49-F238E27FC236}">
                    <a16:creationId xmlns:a16="http://schemas.microsoft.com/office/drawing/2014/main" id="{75033A19-AAF4-4DC1-9DBC-E95F177D2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4006" y="3222554"/>
                <a:ext cx="250199" cy="200159"/>
              </a:xfrm>
              <a:custGeom>
                <a:avLst/>
                <a:gdLst>
                  <a:gd name="T0" fmla="*/ 159 w 197"/>
                  <a:gd name="T1" fmla="*/ 157 h 157"/>
                  <a:gd name="T2" fmla="*/ 161 w 197"/>
                  <a:gd name="T3" fmla="*/ 135 h 157"/>
                  <a:gd name="T4" fmla="*/ 157 w 197"/>
                  <a:gd name="T5" fmla="*/ 118 h 157"/>
                  <a:gd name="T6" fmla="*/ 146 w 197"/>
                  <a:gd name="T7" fmla="*/ 100 h 157"/>
                  <a:gd name="T8" fmla="*/ 129 w 197"/>
                  <a:gd name="T9" fmla="*/ 68 h 157"/>
                  <a:gd name="T10" fmla="*/ 68 w 197"/>
                  <a:gd name="T11" fmla="*/ 66 h 157"/>
                  <a:gd name="T12" fmla="*/ 42 w 197"/>
                  <a:gd name="T13" fmla="*/ 64 h 157"/>
                  <a:gd name="T14" fmla="*/ 26 w 197"/>
                  <a:gd name="T15" fmla="*/ 138 h 157"/>
                  <a:gd name="T16" fmla="*/ 19 w 197"/>
                  <a:gd name="T17" fmla="*/ 17 h 157"/>
                  <a:gd name="T18" fmla="*/ 46 w 197"/>
                  <a:gd name="T19" fmla="*/ 0 h 157"/>
                  <a:gd name="T20" fmla="*/ 61 w 197"/>
                  <a:gd name="T21" fmla="*/ 11 h 157"/>
                  <a:gd name="T22" fmla="*/ 131 w 197"/>
                  <a:gd name="T23" fmla="*/ 4 h 157"/>
                  <a:gd name="T24" fmla="*/ 188 w 197"/>
                  <a:gd name="T25" fmla="*/ 49 h 157"/>
                  <a:gd name="T26" fmla="*/ 178 w 197"/>
                  <a:gd name="T27" fmla="*/ 138 h 157"/>
                  <a:gd name="T28" fmla="*/ 159 w 197"/>
                  <a:gd name="T2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7" h="157">
                    <a:moveTo>
                      <a:pt x="159" y="157"/>
                    </a:moveTo>
                    <a:cubicBezTo>
                      <a:pt x="161" y="135"/>
                      <a:pt x="161" y="135"/>
                      <a:pt x="161" y="135"/>
                    </a:cubicBezTo>
                    <a:cubicBezTo>
                      <a:pt x="161" y="129"/>
                      <a:pt x="160" y="123"/>
                      <a:pt x="157" y="118"/>
                    </a:cubicBezTo>
                    <a:cubicBezTo>
                      <a:pt x="152" y="111"/>
                      <a:pt x="148" y="105"/>
                      <a:pt x="146" y="100"/>
                    </a:cubicBezTo>
                    <a:cubicBezTo>
                      <a:pt x="141" y="90"/>
                      <a:pt x="145" y="80"/>
                      <a:pt x="129" y="68"/>
                    </a:cubicBezTo>
                    <a:cubicBezTo>
                      <a:pt x="115" y="57"/>
                      <a:pt x="85" y="69"/>
                      <a:pt x="68" y="66"/>
                    </a:cubicBezTo>
                    <a:cubicBezTo>
                      <a:pt x="61" y="65"/>
                      <a:pt x="49" y="62"/>
                      <a:pt x="42" y="64"/>
                    </a:cubicBezTo>
                    <a:cubicBezTo>
                      <a:pt x="26" y="69"/>
                      <a:pt x="26" y="138"/>
                      <a:pt x="26" y="138"/>
                    </a:cubicBezTo>
                    <a:cubicBezTo>
                      <a:pt x="26" y="138"/>
                      <a:pt x="0" y="53"/>
                      <a:pt x="19" y="17"/>
                    </a:cubicBezTo>
                    <a:cubicBezTo>
                      <a:pt x="23" y="9"/>
                      <a:pt x="46" y="0"/>
                      <a:pt x="46" y="0"/>
                    </a:cubicBezTo>
                    <a:cubicBezTo>
                      <a:pt x="46" y="0"/>
                      <a:pt x="45" y="10"/>
                      <a:pt x="61" y="11"/>
                    </a:cubicBezTo>
                    <a:cubicBezTo>
                      <a:pt x="75" y="12"/>
                      <a:pt x="100" y="9"/>
                      <a:pt x="131" y="4"/>
                    </a:cubicBezTo>
                    <a:cubicBezTo>
                      <a:pt x="161" y="0"/>
                      <a:pt x="183" y="30"/>
                      <a:pt x="188" y="49"/>
                    </a:cubicBezTo>
                    <a:cubicBezTo>
                      <a:pt x="197" y="90"/>
                      <a:pt x="178" y="138"/>
                      <a:pt x="178" y="138"/>
                    </a:cubicBezTo>
                    <a:lnTo>
                      <a:pt x="159" y="157"/>
                    </a:lnTo>
                    <a:close/>
                  </a:path>
                </a:pathLst>
              </a:custGeom>
              <a:solidFill>
                <a:srgbClr val="9B64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 63">
                <a:extLst>
                  <a:ext uri="{FF2B5EF4-FFF2-40B4-BE49-F238E27FC236}">
                    <a16:creationId xmlns:a16="http://schemas.microsoft.com/office/drawing/2014/main" id="{035CFF0A-1615-404C-9818-50CE4C6F2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05666" y="3654841"/>
                <a:ext cx="170970" cy="177919"/>
              </a:xfrm>
              <a:custGeom>
                <a:avLst/>
                <a:gdLst>
                  <a:gd name="T0" fmla="*/ 123 w 123"/>
                  <a:gd name="T1" fmla="*/ 23 h 128"/>
                  <a:gd name="T2" fmla="*/ 0 w 123"/>
                  <a:gd name="T3" fmla="*/ 0 h 128"/>
                  <a:gd name="T4" fmla="*/ 15 w 123"/>
                  <a:gd name="T5" fmla="*/ 128 h 128"/>
                  <a:gd name="T6" fmla="*/ 123 w 123"/>
                  <a:gd name="T7" fmla="*/ 2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3" h="128">
                    <a:moveTo>
                      <a:pt x="123" y="23"/>
                    </a:moveTo>
                    <a:lnTo>
                      <a:pt x="0" y="0"/>
                    </a:lnTo>
                    <a:lnTo>
                      <a:pt x="15" y="128"/>
                    </a:lnTo>
                    <a:lnTo>
                      <a:pt x="123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 64">
                <a:extLst>
                  <a:ext uri="{FF2B5EF4-FFF2-40B4-BE49-F238E27FC236}">
                    <a16:creationId xmlns:a16="http://schemas.microsoft.com/office/drawing/2014/main" id="{AE6E5C65-9A10-416F-B9F6-9CB2FB88C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8486" y="5661991"/>
                <a:ext cx="214059" cy="145950"/>
              </a:xfrm>
              <a:custGeom>
                <a:avLst/>
                <a:gdLst>
                  <a:gd name="T0" fmla="*/ 157 w 168"/>
                  <a:gd name="T1" fmla="*/ 12 h 115"/>
                  <a:gd name="T2" fmla="*/ 167 w 168"/>
                  <a:gd name="T3" fmla="*/ 46 h 115"/>
                  <a:gd name="T4" fmla="*/ 167 w 168"/>
                  <a:gd name="T5" fmla="*/ 85 h 115"/>
                  <a:gd name="T6" fmla="*/ 136 w 168"/>
                  <a:gd name="T7" fmla="*/ 91 h 115"/>
                  <a:gd name="T8" fmla="*/ 136 w 168"/>
                  <a:gd name="T9" fmla="*/ 81 h 115"/>
                  <a:gd name="T10" fmla="*/ 125 w 168"/>
                  <a:gd name="T11" fmla="*/ 96 h 115"/>
                  <a:gd name="T12" fmla="*/ 54 w 168"/>
                  <a:gd name="T13" fmla="*/ 115 h 115"/>
                  <a:gd name="T14" fmla="*/ 3 w 168"/>
                  <a:gd name="T15" fmla="*/ 109 h 115"/>
                  <a:gd name="T16" fmla="*/ 2 w 168"/>
                  <a:gd name="T17" fmla="*/ 93 h 115"/>
                  <a:gd name="T18" fmla="*/ 46 w 168"/>
                  <a:gd name="T19" fmla="*/ 43 h 115"/>
                  <a:gd name="T20" fmla="*/ 68 w 168"/>
                  <a:gd name="T21" fmla="*/ 6 h 115"/>
                  <a:gd name="T22" fmla="*/ 117 w 168"/>
                  <a:gd name="T23" fmla="*/ 7 h 115"/>
                  <a:gd name="T24" fmla="*/ 135 w 168"/>
                  <a:gd name="T25" fmla="*/ 22 h 115"/>
                  <a:gd name="T26" fmla="*/ 157 w 168"/>
                  <a:gd name="T27" fmla="*/ 1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15">
                    <a:moveTo>
                      <a:pt x="157" y="12"/>
                    </a:moveTo>
                    <a:cubicBezTo>
                      <a:pt x="157" y="12"/>
                      <a:pt x="165" y="35"/>
                      <a:pt x="167" y="46"/>
                    </a:cubicBezTo>
                    <a:cubicBezTo>
                      <a:pt x="168" y="56"/>
                      <a:pt x="167" y="85"/>
                      <a:pt x="167" y="85"/>
                    </a:cubicBezTo>
                    <a:cubicBezTo>
                      <a:pt x="136" y="91"/>
                      <a:pt x="136" y="91"/>
                      <a:pt x="136" y="91"/>
                    </a:cubicBezTo>
                    <a:cubicBezTo>
                      <a:pt x="136" y="81"/>
                      <a:pt x="136" y="81"/>
                      <a:pt x="136" y="81"/>
                    </a:cubicBezTo>
                    <a:cubicBezTo>
                      <a:pt x="136" y="81"/>
                      <a:pt x="129" y="93"/>
                      <a:pt x="125" y="96"/>
                    </a:cubicBezTo>
                    <a:cubicBezTo>
                      <a:pt x="111" y="107"/>
                      <a:pt x="54" y="115"/>
                      <a:pt x="54" y="115"/>
                    </a:cubicBezTo>
                    <a:cubicBezTo>
                      <a:pt x="3" y="109"/>
                      <a:pt x="3" y="109"/>
                      <a:pt x="3" y="109"/>
                    </a:cubicBezTo>
                    <a:cubicBezTo>
                      <a:pt x="3" y="109"/>
                      <a:pt x="0" y="99"/>
                      <a:pt x="2" y="93"/>
                    </a:cubicBezTo>
                    <a:cubicBezTo>
                      <a:pt x="8" y="78"/>
                      <a:pt x="36" y="56"/>
                      <a:pt x="46" y="43"/>
                    </a:cubicBezTo>
                    <a:cubicBezTo>
                      <a:pt x="53" y="34"/>
                      <a:pt x="68" y="6"/>
                      <a:pt x="68" y="6"/>
                    </a:cubicBezTo>
                    <a:cubicBezTo>
                      <a:pt x="68" y="6"/>
                      <a:pt x="105" y="0"/>
                      <a:pt x="117" y="7"/>
                    </a:cubicBezTo>
                    <a:cubicBezTo>
                      <a:pt x="121" y="10"/>
                      <a:pt x="130" y="21"/>
                      <a:pt x="135" y="22"/>
                    </a:cubicBezTo>
                    <a:cubicBezTo>
                      <a:pt x="142" y="22"/>
                      <a:pt x="157" y="12"/>
                      <a:pt x="157" y="12"/>
                    </a:cubicBezTo>
                    <a:close/>
                  </a:path>
                </a:pathLst>
              </a:custGeom>
              <a:solidFill>
                <a:srgbClr val="3A1B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Freeform 65">
                <a:extLst>
                  <a:ext uri="{FF2B5EF4-FFF2-40B4-BE49-F238E27FC236}">
                    <a16:creationId xmlns:a16="http://schemas.microsoft.com/office/drawing/2014/main" id="{9024649A-4095-493A-88CF-EF7EC9508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2076" y="4463817"/>
                <a:ext cx="303018" cy="1149524"/>
              </a:xfrm>
              <a:custGeom>
                <a:avLst/>
                <a:gdLst>
                  <a:gd name="T0" fmla="*/ 238 w 238"/>
                  <a:gd name="T1" fmla="*/ 0 h 904"/>
                  <a:gd name="T2" fmla="*/ 214 w 238"/>
                  <a:gd name="T3" fmla="*/ 442 h 904"/>
                  <a:gd name="T4" fmla="*/ 226 w 238"/>
                  <a:gd name="T5" fmla="*/ 581 h 904"/>
                  <a:gd name="T6" fmla="*/ 192 w 238"/>
                  <a:gd name="T7" fmla="*/ 897 h 904"/>
                  <a:gd name="T8" fmla="*/ 109 w 238"/>
                  <a:gd name="T9" fmla="*/ 904 h 904"/>
                  <a:gd name="T10" fmla="*/ 93 w 238"/>
                  <a:gd name="T11" fmla="*/ 897 h 904"/>
                  <a:gd name="T12" fmla="*/ 82 w 238"/>
                  <a:gd name="T13" fmla="*/ 487 h 904"/>
                  <a:gd name="T14" fmla="*/ 61 w 238"/>
                  <a:gd name="T15" fmla="*/ 409 h 904"/>
                  <a:gd name="T16" fmla="*/ 0 w 238"/>
                  <a:gd name="T17" fmla="*/ 42 h 904"/>
                  <a:gd name="T18" fmla="*/ 238 w 238"/>
                  <a:gd name="T19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8" h="904">
                    <a:moveTo>
                      <a:pt x="238" y="0"/>
                    </a:moveTo>
                    <a:cubicBezTo>
                      <a:pt x="238" y="0"/>
                      <a:pt x="210" y="345"/>
                      <a:pt x="214" y="442"/>
                    </a:cubicBezTo>
                    <a:cubicBezTo>
                      <a:pt x="215" y="487"/>
                      <a:pt x="224" y="536"/>
                      <a:pt x="226" y="581"/>
                    </a:cubicBezTo>
                    <a:cubicBezTo>
                      <a:pt x="230" y="667"/>
                      <a:pt x="192" y="897"/>
                      <a:pt x="192" y="897"/>
                    </a:cubicBezTo>
                    <a:cubicBezTo>
                      <a:pt x="109" y="904"/>
                      <a:pt x="109" y="904"/>
                      <a:pt x="109" y="904"/>
                    </a:cubicBezTo>
                    <a:cubicBezTo>
                      <a:pt x="93" y="897"/>
                      <a:pt x="93" y="897"/>
                      <a:pt x="93" y="897"/>
                    </a:cubicBezTo>
                    <a:cubicBezTo>
                      <a:pt x="93" y="897"/>
                      <a:pt x="98" y="599"/>
                      <a:pt x="82" y="487"/>
                    </a:cubicBezTo>
                    <a:cubicBezTo>
                      <a:pt x="79" y="467"/>
                      <a:pt x="64" y="429"/>
                      <a:pt x="61" y="409"/>
                    </a:cubicBezTo>
                    <a:cubicBezTo>
                      <a:pt x="53" y="357"/>
                      <a:pt x="0" y="42"/>
                      <a:pt x="0" y="42"/>
                    </a:cubicBez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Freeform 66">
                <a:extLst>
                  <a:ext uri="{FF2B5EF4-FFF2-40B4-BE49-F238E27FC236}">
                    <a16:creationId xmlns:a16="http://schemas.microsoft.com/office/drawing/2014/main" id="{79CB2231-E975-4236-83F4-5A516DBF8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0757" y="4394317"/>
                <a:ext cx="334989" cy="1212073"/>
              </a:xfrm>
              <a:custGeom>
                <a:avLst/>
                <a:gdLst>
                  <a:gd name="T0" fmla="*/ 263 w 263"/>
                  <a:gd name="T1" fmla="*/ 150 h 952"/>
                  <a:gd name="T2" fmla="*/ 171 w 263"/>
                  <a:gd name="T3" fmla="*/ 530 h 952"/>
                  <a:gd name="T4" fmla="*/ 231 w 263"/>
                  <a:gd name="T5" fmla="*/ 925 h 952"/>
                  <a:gd name="T6" fmla="*/ 108 w 263"/>
                  <a:gd name="T7" fmla="*/ 939 h 952"/>
                  <a:gd name="T8" fmla="*/ 19 w 263"/>
                  <a:gd name="T9" fmla="*/ 517 h 952"/>
                  <a:gd name="T10" fmla="*/ 75 w 263"/>
                  <a:gd name="T11" fmla="*/ 78 h 952"/>
                  <a:gd name="T12" fmla="*/ 102 w 263"/>
                  <a:gd name="T13" fmla="*/ 0 h 952"/>
                  <a:gd name="T14" fmla="*/ 263 w 263"/>
                  <a:gd name="T15" fmla="*/ 150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3" h="952">
                    <a:moveTo>
                      <a:pt x="263" y="150"/>
                    </a:moveTo>
                    <a:cubicBezTo>
                      <a:pt x="171" y="530"/>
                      <a:pt x="171" y="530"/>
                      <a:pt x="171" y="530"/>
                    </a:cubicBezTo>
                    <a:cubicBezTo>
                      <a:pt x="231" y="925"/>
                      <a:pt x="231" y="925"/>
                      <a:pt x="231" y="925"/>
                    </a:cubicBezTo>
                    <a:cubicBezTo>
                      <a:pt x="231" y="925"/>
                      <a:pt x="112" y="952"/>
                      <a:pt x="108" y="939"/>
                    </a:cubicBezTo>
                    <a:cubicBezTo>
                      <a:pt x="106" y="934"/>
                      <a:pt x="27" y="557"/>
                      <a:pt x="19" y="517"/>
                    </a:cubicBezTo>
                    <a:cubicBezTo>
                      <a:pt x="0" y="427"/>
                      <a:pt x="75" y="78"/>
                      <a:pt x="75" y="78"/>
                    </a:cubicBezTo>
                    <a:cubicBezTo>
                      <a:pt x="102" y="0"/>
                      <a:pt x="102" y="0"/>
                      <a:pt x="102" y="0"/>
                    </a:cubicBezTo>
                    <a:lnTo>
                      <a:pt x="263" y="15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Freeform 67">
                <a:extLst>
                  <a:ext uri="{FF2B5EF4-FFF2-40B4-BE49-F238E27FC236}">
                    <a16:creationId xmlns:a16="http://schemas.microsoft.com/office/drawing/2014/main" id="{DE4BFE84-6EAE-421B-B2A0-57A370C44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297" y="5636971"/>
                <a:ext cx="316918" cy="120930"/>
              </a:xfrm>
              <a:custGeom>
                <a:avLst/>
                <a:gdLst>
                  <a:gd name="T0" fmla="*/ 249 w 249"/>
                  <a:gd name="T1" fmla="*/ 62 h 95"/>
                  <a:gd name="T2" fmla="*/ 245 w 249"/>
                  <a:gd name="T3" fmla="*/ 12 h 95"/>
                  <a:gd name="T4" fmla="*/ 185 w 249"/>
                  <a:gd name="T5" fmla="*/ 18 h 95"/>
                  <a:gd name="T6" fmla="*/ 144 w 249"/>
                  <a:gd name="T7" fmla="*/ 0 h 95"/>
                  <a:gd name="T8" fmla="*/ 71 w 249"/>
                  <a:gd name="T9" fmla="*/ 56 h 95"/>
                  <a:gd name="T10" fmla="*/ 20 w 249"/>
                  <a:gd name="T11" fmla="*/ 72 h 95"/>
                  <a:gd name="T12" fmla="*/ 17 w 249"/>
                  <a:gd name="T13" fmla="*/ 95 h 95"/>
                  <a:gd name="T14" fmla="*/ 144 w 249"/>
                  <a:gd name="T15" fmla="*/ 95 h 95"/>
                  <a:gd name="T16" fmla="*/ 186 w 249"/>
                  <a:gd name="T17" fmla="*/ 73 h 95"/>
                  <a:gd name="T18" fmla="*/ 185 w 249"/>
                  <a:gd name="T19" fmla="*/ 91 h 95"/>
                  <a:gd name="T20" fmla="*/ 249 w 249"/>
                  <a:gd name="T21" fmla="*/ 88 h 95"/>
                  <a:gd name="T22" fmla="*/ 249 w 249"/>
                  <a:gd name="T23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9" h="95">
                    <a:moveTo>
                      <a:pt x="249" y="62"/>
                    </a:moveTo>
                    <a:cubicBezTo>
                      <a:pt x="245" y="12"/>
                      <a:pt x="245" y="12"/>
                      <a:pt x="245" y="12"/>
                    </a:cubicBezTo>
                    <a:cubicBezTo>
                      <a:pt x="245" y="12"/>
                      <a:pt x="200" y="21"/>
                      <a:pt x="185" y="18"/>
                    </a:cubicBezTo>
                    <a:cubicBezTo>
                      <a:pt x="176" y="16"/>
                      <a:pt x="146" y="0"/>
                      <a:pt x="144" y="0"/>
                    </a:cubicBezTo>
                    <a:cubicBezTo>
                      <a:pt x="141" y="1"/>
                      <a:pt x="94" y="48"/>
                      <a:pt x="71" y="56"/>
                    </a:cubicBezTo>
                    <a:cubicBezTo>
                      <a:pt x="59" y="61"/>
                      <a:pt x="31" y="66"/>
                      <a:pt x="20" y="72"/>
                    </a:cubicBezTo>
                    <a:cubicBezTo>
                      <a:pt x="0" y="83"/>
                      <a:pt x="17" y="95"/>
                      <a:pt x="17" y="95"/>
                    </a:cubicBezTo>
                    <a:cubicBezTo>
                      <a:pt x="144" y="95"/>
                      <a:pt x="144" y="95"/>
                      <a:pt x="144" y="95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5" y="91"/>
                      <a:pt x="185" y="91"/>
                      <a:pt x="185" y="91"/>
                    </a:cubicBezTo>
                    <a:cubicBezTo>
                      <a:pt x="249" y="88"/>
                      <a:pt x="249" y="88"/>
                      <a:pt x="249" y="88"/>
                    </a:cubicBezTo>
                    <a:lnTo>
                      <a:pt x="249" y="62"/>
                    </a:lnTo>
                    <a:close/>
                  </a:path>
                </a:pathLst>
              </a:custGeom>
              <a:solidFill>
                <a:srgbClr val="3A1B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Freeform 68">
                <a:extLst>
                  <a:ext uri="{FF2B5EF4-FFF2-40B4-BE49-F238E27FC236}">
                    <a16:creationId xmlns:a16="http://schemas.microsoft.com/office/drawing/2014/main" id="{26446B8C-9668-4CB9-8A82-9DC817560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1417" y="4287288"/>
                <a:ext cx="433678" cy="280778"/>
              </a:xfrm>
              <a:custGeom>
                <a:avLst/>
                <a:gdLst>
                  <a:gd name="T0" fmla="*/ 290 w 312"/>
                  <a:gd name="T1" fmla="*/ 0 h 202"/>
                  <a:gd name="T2" fmla="*/ 305 w 312"/>
                  <a:gd name="T3" fmla="*/ 86 h 202"/>
                  <a:gd name="T4" fmla="*/ 312 w 312"/>
                  <a:gd name="T5" fmla="*/ 127 h 202"/>
                  <a:gd name="T6" fmla="*/ 221 w 312"/>
                  <a:gd name="T7" fmla="*/ 202 h 202"/>
                  <a:gd name="T8" fmla="*/ 23 w 312"/>
                  <a:gd name="T9" fmla="*/ 181 h 202"/>
                  <a:gd name="T10" fmla="*/ 0 w 312"/>
                  <a:gd name="T11" fmla="*/ 77 h 202"/>
                  <a:gd name="T12" fmla="*/ 21 w 312"/>
                  <a:gd name="T13" fmla="*/ 0 h 202"/>
                  <a:gd name="T14" fmla="*/ 290 w 312"/>
                  <a:gd name="T15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2" h="202">
                    <a:moveTo>
                      <a:pt x="290" y="0"/>
                    </a:moveTo>
                    <a:lnTo>
                      <a:pt x="305" y="86"/>
                    </a:lnTo>
                    <a:lnTo>
                      <a:pt x="312" y="127"/>
                    </a:lnTo>
                    <a:lnTo>
                      <a:pt x="221" y="202"/>
                    </a:lnTo>
                    <a:lnTo>
                      <a:pt x="23" y="181"/>
                    </a:lnTo>
                    <a:lnTo>
                      <a:pt x="0" y="77"/>
                    </a:lnTo>
                    <a:lnTo>
                      <a:pt x="21" y="0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 69">
                <a:extLst>
                  <a:ext uri="{FF2B5EF4-FFF2-40B4-BE49-F238E27FC236}">
                    <a16:creationId xmlns:a16="http://schemas.microsoft.com/office/drawing/2014/main" id="{69120463-8939-4891-8CC9-D6DA28F20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0837" y="3620092"/>
                <a:ext cx="568507" cy="815926"/>
              </a:xfrm>
              <a:custGeom>
                <a:avLst/>
                <a:gdLst>
                  <a:gd name="T0" fmla="*/ 418 w 448"/>
                  <a:gd name="T1" fmla="*/ 86 h 642"/>
                  <a:gd name="T2" fmla="*/ 290 w 448"/>
                  <a:gd name="T3" fmla="*/ 16 h 642"/>
                  <a:gd name="T4" fmla="*/ 135 w 448"/>
                  <a:gd name="T5" fmla="*/ 151 h 642"/>
                  <a:gd name="T6" fmla="*/ 145 w 448"/>
                  <a:gd name="T7" fmla="*/ 0 h 642"/>
                  <a:gd name="T8" fmla="*/ 0 w 448"/>
                  <a:gd name="T9" fmla="*/ 71 h 642"/>
                  <a:gd name="T10" fmla="*/ 18 w 448"/>
                  <a:gd name="T11" fmla="*/ 334 h 642"/>
                  <a:gd name="T12" fmla="*/ 18 w 448"/>
                  <a:gd name="T13" fmla="*/ 474 h 642"/>
                  <a:gd name="T14" fmla="*/ 7 w 448"/>
                  <a:gd name="T15" fmla="*/ 606 h 642"/>
                  <a:gd name="T16" fmla="*/ 100 w 448"/>
                  <a:gd name="T17" fmla="*/ 626 h 642"/>
                  <a:gd name="T18" fmla="*/ 119 w 448"/>
                  <a:gd name="T19" fmla="*/ 601 h 642"/>
                  <a:gd name="T20" fmla="*/ 127 w 448"/>
                  <a:gd name="T21" fmla="*/ 632 h 642"/>
                  <a:gd name="T22" fmla="*/ 162 w 448"/>
                  <a:gd name="T23" fmla="*/ 639 h 642"/>
                  <a:gd name="T24" fmla="*/ 189 w 448"/>
                  <a:gd name="T25" fmla="*/ 641 h 642"/>
                  <a:gd name="T26" fmla="*/ 365 w 448"/>
                  <a:gd name="T27" fmla="*/ 624 h 642"/>
                  <a:gd name="T28" fmla="*/ 354 w 448"/>
                  <a:gd name="T29" fmla="*/ 368 h 642"/>
                  <a:gd name="T30" fmla="*/ 418 w 448"/>
                  <a:gd name="T31" fmla="*/ 86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8" h="642">
                    <a:moveTo>
                      <a:pt x="418" y="86"/>
                    </a:moveTo>
                    <a:cubicBezTo>
                      <a:pt x="404" y="51"/>
                      <a:pt x="290" y="16"/>
                      <a:pt x="290" y="16"/>
                    </a:cubicBez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18" y="334"/>
                      <a:pt x="18" y="334"/>
                      <a:pt x="18" y="334"/>
                    </a:cubicBezTo>
                    <a:cubicBezTo>
                      <a:pt x="18" y="474"/>
                      <a:pt x="18" y="474"/>
                      <a:pt x="18" y="474"/>
                    </a:cubicBezTo>
                    <a:cubicBezTo>
                      <a:pt x="7" y="606"/>
                      <a:pt x="7" y="606"/>
                      <a:pt x="7" y="606"/>
                    </a:cubicBezTo>
                    <a:cubicBezTo>
                      <a:pt x="100" y="626"/>
                      <a:pt x="100" y="626"/>
                      <a:pt x="100" y="626"/>
                    </a:cubicBezTo>
                    <a:cubicBezTo>
                      <a:pt x="119" y="601"/>
                      <a:pt x="119" y="601"/>
                      <a:pt x="119" y="601"/>
                    </a:cubicBezTo>
                    <a:cubicBezTo>
                      <a:pt x="127" y="632"/>
                      <a:pt x="127" y="632"/>
                      <a:pt x="127" y="632"/>
                    </a:cubicBezTo>
                    <a:cubicBezTo>
                      <a:pt x="162" y="639"/>
                      <a:pt x="162" y="639"/>
                      <a:pt x="162" y="639"/>
                    </a:cubicBezTo>
                    <a:cubicBezTo>
                      <a:pt x="171" y="641"/>
                      <a:pt x="180" y="642"/>
                      <a:pt x="189" y="641"/>
                    </a:cubicBezTo>
                    <a:cubicBezTo>
                      <a:pt x="365" y="624"/>
                      <a:pt x="365" y="624"/>
                      <a:pt x="365" y="624"/>
                    </a:cubicBezTo>
                    <a:cubicBezTo>
                      <a:pt x="354" y="368"/>
                      <a:pt x="354" y="368"/>
                      <a:pt x="354" y="368"/>
                    </a:cubicBezTo>
                    <a:cubicBezTo>
                      <a:pt x="354" y="368"/>
                      <a:pt x="448" y="159"/>
                      <a:pt x="418" y="86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Freeform 70">
                <a:extLst>
                  <a:ext uri="{FF2B5EF4-FFF2-40B4-BE49-F238E27FC236}">
                    <a16:creationId xmlns:a16="http://schemas.microsoft.com/office/drawing/2014/main" id="{6573F503-9F33-4F42-8366-AE67EBFE76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25126" y="3624262"/>
                <a:ext cx="280778" cy="279389"/>
              </a:xfrm>
              <a:custGeom>
                <a:avLst/>
                <a:gdLst>
                  <a:gd name="T0" fmla="*/ 221 w 221"/>
                  <a:gd name="T1" fmla="*/ 27 h 219"/>
                  <a:gd name="T2" fmla="*/ 168 w 221"/>
                  <a:gd name="T3" fmla="*/ 0 h 219"/>
                  <a:gd name="T4" fmla="*/ 63 w 221"/>
                  <a:gd name="T5" fmla="*/ 83 h 219"/>
                  <a:gd name="T6" fmla="*/ 0 w 221"/>
                  <a:gd name="T7" fmla="*/ 160 h 219"/>
                  <a:gd name="T8" fmla="*/ 13 w 221"/>
                  <a:gd name="T9" fmla="*/ 219 h 219"/>
                  <a:gd name="T10" fmla="*/ 221 w 221"/>
                  <a:gd name="T11" fmla="*/ 27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1" h="219">
                    <a:moveTo>
                      <a:pt x="221" y="27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86" y="57"/>
                      <a:pt x="63" y="83"/>
                    </a:cubicBezTo>
                    <a:cubicBezTo>
                      <a:pt x="45" y="102"/>
                      <a:pt x="0" y="160"/>
                      <a:pt x="0" y="160"/>
                    </a:cubicBezTo>
                    <a:cubicBezTo>
                      <a:pt x="13" y="219"/>
                      <a:pt x="13" y="219"/>
                      <a:pt x="13" y="219"/>
                    </a:cubicBezTo>
                    <a:lnTo>
                      <a:pt x="221" y="27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Freeform 71">
                <a:extLst>
                  <a:ext uri="{FF2B5EF4-FFF2-40B4-BE49-F238E27FC236}">
                    <a16:creationId xmlns:a16="http://schemas.microsoft.com/office/drawing/2014/main" id="{39F9D545-0545-4D07-921D-67EA2963A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2307" y="3606192"/>
                <a:ext cx="86180" cy="386418"/>
              </a:xfrm>
              <a:custGeom>
                <a:avLst/>
                <a:gdLst>
                  <a:gd name="T0" fmla="*/ 68 w 68"/>
                  <a:gd name="T1" fmla="*/ 0 h 303"/>
                  <a:gd name="T2" fmla="*/ 7 w 68"/>
                  <a:gd name="T3" fmla="*/ 26 h 303"/>
                  <a:gd name="T4" fmla="*/ 5 w 68"/>
                  <a:gd name="T5" fmla="*/ 168 h 303"/>
                  <a:gd name="T6" fmla="*/ 20 w 68"/>
                  <a:gd name="T7" fmla="*/ 287 h 303"/>
                  <a:gd name="T8" fmla="*/ 64 w 68"/>
                  <a:gd name="T9" fmla="*/ 303 h 303"/>
                  <a:gd name="T10" fmla="*/ 59 w 68"/>
                  <a:gd name="T11" fmla="*/ 161 h 303"/>
                  <a:gd name="T12" fmla="*/ 68 w 68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303">
                    <a:moveTo>
                      <a:pt x="68" y="0"/>
                    </a:move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0" y="141"/>
                      <a:pt x="5" y="168"/>
                    </a:cubicBezTo>
                    <a:cubicBezTo>
                      <a:pt x="10" y="192"/>
                      <a:pt x="20" y="287"/>
                      <a:pt x="20" y="287"/>
                    </a:cubicBezTo>
                    <a:cubicBezTo>
                      <a:pt x="64" y="303"/>
                      <a:pt x="64" y="303"/>
                      <a:pt x="64" y="303"/>
                    </a:cubicBezTo>
                    <a:cubicBezTo>
                      <a:pt x="64" y="303"/>
                      <a:pt x="61" y="194"/>
                      <a:pt x="59" y="161"/>
                    </a:cubicBezTo>
                    <a:cubicBezTo>
                      <a:pt x="57" y="129"/>
                      <a:pt x="68" y="0"/>
                      <a:pt x="68" y="0"/>
                    </a:cubicBez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Freeform 72">
                <a:extLst>
                  <a:ext uri="{FF2B5EF4-FFF2-40B4-BE49-F238E27FC236}">
                    <a16:creationId xmlns:a16="http://schemas.microsoft.com/office/drawing/2014/main" id="{458CE10E-0DF7-4BEE-92F6-F3FEE8A8E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7247" y="3610362"/>
                <a:ext cx="105639" cy="76450"/>
              </a:xfrm>
              <a:custGeom>
                <a:avLst/>
                <a:gdLst>
                  <a:gd name="T0" fmla="*/ 64 w 76"/>
                  <a:gd name="T1" fmla="*/ 55 h 55"/>
                  <a:gd name="T2" fmla="*/ 0 w 76"/>
                  <a:gd name="T3" fmla="*/ 47 h 55"/>
                  <a:gd name="T4" fmla="*/ 5 w 76"/>
                  <a:gd name="T5" fmla="*/ 0 h 55"/>
                  <a:gd name="T6" fmla="*/ 76 w 76"/>
                  <a:gd name="T7" fmla="*/ 4 h 55"/>
                  <a:gd name="T8" fmla="*/ 64 w 76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55">
                    <a:moveTo>
                      <a:pt x="64" y="55"/>
                    </a:moveTo>
                    <a:lnTo>
                      <a:pt x="0" y="47"/>
                    </a:lnTo>
                    <a:lnTo>
                      <a:pt x="5" y="0"/>
                    </a:lnTo>
                    <a:lnTo>
                      <a:pt x="76" y="4"/>
                    </a:lnTo>
                    <a:lnTo>
                      <a:pt x="64" y="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Freeform 73">
                <a:extLst>
                  <a:ext uri="{FF2B5EF4-FFF2-40B4-BE49-F238E27FC236}">
                    <a16:creationId xmlns:a16="http://schemas.microsoft.com/office/drawing/2014/main" id="{2DF25A42-D253-41DE-AD5F-E72FF786E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0455" y="3608972"/>
                <a:ext cx="148730" cy="123710"/>
              </a:xfrm>
              <a:custGeom>
                <a:avLst/>
                <a:gdLst>
                  <a:gd name="T0" fmla="*/ 86 w 107"/>
                  <a:gd name="T1" fmla="*/ 0 h 89"/>
                  <a:gd name="T2" fmla="*/ 0 w 107"/>
                  <a:gd name="T3" fmla="*/ 44 h 89"/>
                  <a:gd name="T4" fmla="*/ 20 w 107"/>
                  <a:gd name="T5" fmla="*/ 89 h 89"/>
                  <a:gd name="T6" fmla="*/ 107 w 107"/>
                  <a:gd name="T7" fmla="*/ 26 h 89"/>
                  <a:gd name="T8" fmla="*/ 86 w 107"/>
                  <a:gd name="T9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89">
                    <a:moveTo>
                      <a:pt x="86" y="0"/>
                    </a:moveTo>
                    <a:lnTo>
                      <a:pt x="0" y="44"/>
                    </a:lnTo>
                    <a:lnTo>
                      <a:pt x="20" y="89"/>
                    </a:lnTo>
                    <a:lnTo>
                      <a:pt x="107" y="26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 74">
                <a:extLst>
                  <a:ext uri="{FF2B5EF4-FFF2-40B4-BE49-F238E27FC236}">
                    <a16:creationId xmlns:a16="http://schemas.microsoft.com/office/drawing/2014/main" id="{3C8117F1-08BF-4485-8249-2368F219C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4856" y="3595072"/>
                <a:ext cx="55600" cy="108419"/>
              </a:xfrm>
              <a:custGeom>
                <a:avLst/>
                <a:gdLst>
                  <a:gd name="T0" fmla="*/ 40 w 40"/>
                  <a:gd name="T1" fmla="*/ 54 h 78"/>
                  <a:gd name="T2" fmla="*/ 4 w 40"/>
                  <a:gd name="T3" fmla="*/ 78 h 78"/>
                  <a:gd name="T4" fmla="*/ 0 w 40"/>
                  <a:gd name="T5" fmla="*/ 14 h 78"/>
                  <a:gd name="T6" fmla="*/ 18 w 40"/>
                  <a:gd name="T7" fmla="*/ 0 h 78"/>
                  <a:gd name="T8" fmla="*/ 40 w 40"/>
                  <a:gd name="T9" fmla="*/ 5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8">
                    <a:moveTo>
                      <a:pt x="40" y="54"/>
                    </a:moveTo>
                    <a:lnTo>
                      <a:pt x="4" y="78"/>
                    </a:lnTo>
                    <a:lnTo>
                      <a:pt x="0" y="14"/>
                    </a:lnTo>
                    <a:lnTo>
                      <a:pt x="18" y="0"/>
                    </a:lnTo>
                    <a:lnTo>
                      <a:pt x="40" y="54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 75">
                <a:extLst>
                  <a:ext uri="{FF2B5EF4-FFF2-40B4-BE49-F238E27FC236}">
                    <a16:creationId xmlns:a16="http://schemas.microsoft.com/office/drawing/2014/main" id="{589054D2-B3CE-4139-A6AF-24DAF062D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5007" y="3932840"/>
                <a:ext cx="101470" cy="144559"/>
              </a:xfrm>
              <a:custGeom>
                <a:avLst/>
                <a:gdLst>
                  <a:gd name="T0" fmla="*/ 73 w 73"/>
                  <a:gd name="T1" fmla="*/ 40 h 104"/>
                  <a:gd name="T2" fmla="*/ 51 w 73"/>
                  <a:gd name="T3" fmla="*/ 104 h 104"/>
                  <a:gd name="T4" fmla="*/ 0 w 73"/>
                  <a:gd name="T5" fmla="*/ 84 h 104"/>
                  <a:gd name="T6" fmla="*/ 24 w 73"/>
                  <a:gd name="T7" fmla="*/ 0 h 104"/>
                  <a:gd name="T8" fmla="*/ 73 w 73"/>
                  <a:gd name="T9" fmla="*/ 4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104">
                    <a:moveTo>
                      <a:pt x="73" y="40"/>
                    </a:moveTo>
                    <a:lnTo>
                      <a:pt x="51" y="104"/>
                    </a:lnTo>
                    <a:lnTo>
                      <a:pt x="0" y="84"/>
                    </a:lnTo>
                    <a:lnTo>
                      <a:pt x="24" y="0"/>
                    </a:lnTo>
                    <a:lnTo>
                      <a:pt x="73" y="40"/>
                    </a:lnTo>
                    <a:close/>
                  </a:path>
                </a:pathLst>
              </a:custGeom>
              <a:solidFill>
                <a:srgbClr val="2771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 76">
                <a:extLst>
                  <a:ext uri="{FF2B5EF4-FFF2-40B4-BE49-F238E27FC236}">
                    <a16:creationId xmlns:a16="http://schemas.microsoft.com/office/drawing/2014/main" id="{DE4FF820-7086-40EC-8417-ADDA502B0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1147" y="3967590"/>
                <a:ext cx="94519" cy="126490"/>
              </a:xfrm>
              <a:custGeom>
                <a:avLst/>
                <a:gdLst>
                  <a:gd name="T0" fmla="*/ 68 w 68"/>
                  <a:gd name="T1" fmla="*/ 14 h 91"/>
                  <a:gd name="T2" fmla="*/ 34 w 68"/>
                  <a:gd name="T3" fmla="*/ 91 h 91"/>
                  <a:gd name="T4" fmla="*/ 0 w 68"/>
                  <a:gd name="T5" fmla="*/ 76 h 91"/>
                  <a:gd name="T6" fmla="*/ 33 w 68"/>
                  <a:gd name="T7" fmla="*/ 0 h 91"/>
                  <a:gd name="T8" fmla="*/ 68 w 68"/>
                  <a:gd name="T9" fmla="*/ 1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91">
                    <a:moveTo>
                      <a:pt x="68" y="14"/>
                    </a:moveTo>
                    <a:lnTo>
                      <a:pt x="34" y="91"/>
                    </a:lnTo>
                    <a:lnTo>
                      <a:pt x="0" y="76"/>
                    </a:lnTo>
                    <a:lnTo>
                      <a:pt x="33" y="0"/>
                    </a:lnTo>
                    <a:lnTo>
                      <a:pt x="68" y="14"/>
                    </a:lnTo>
                    <a:close/>
                  </a:path>
                </a:pathLst>
              </a:custGeom>
              <a:solidFill>
                <a:srgbClr val="2771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Freeform 77">
                <a:extLst>
                  <a:ext uri="{FF2B5EF4-FFF2-40B4-BE49-F238E27FC236}">
                    <a16:creationId xmlns:a16="http://schemas.microsoft.com/office/drawing/2014/main" id="{FFB034B5-DBDC-4040-8259-97AF7DDEB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1996" y="3696541"/>
                <a:ext cx="510128" cy="526808"/>
              </a:xfrm>
              <a:custGeom>
                <a:avLst/>
                <a:gdLst>
                  <a:gd name="T0" fmla="*/ 366 w 401"/>
                  <a:gd name="T1" fmla="*/ 17 h 415"/>
                  <a:gd name="T2" fmla="*/ 356 w 401"/>
                  <a:gd name="T3" fmla="*/ 213 h 415"/>
                  <a:gd name="T4" fmla="*/ 254 w 401"/>
                  <a:gd name="T5" fmla="*/ 415 h 415"/>
                  <a:gd name="T6" fmla="*/ 0 w 401"/>
                  <a:gd name="T7" fmla="*/ 310 h 415"/>
                  <a:gd name="T8" fmla="*/ 32 w 401"/>
                  <a:gd name="T9" fmla="*/ 210 h 415"/>
                  <a:gd name="T10" fmla="*/ 206 w 401"/>
                  <a:gd name="T11" fmla="*/ 270 h 415"/>
                  <a:gd name="T12" fmla="*/ 282 w 401"/>
                  <a:gd name="T13" fmla="*/ 62 h 415"/>
                  <a:gd name="T14" fmla="*/ 366 w 401"/>
                  <a:gd name="T15" fmla="*/ 17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1" h="415">
                    <a:moveTo>
                      <a:pt x="366" y="17"/>
                    </a:moveTo>
                    <a:cubicBezTo>
                      <a:pt x="401" y="62"/>
                      <a:pt x="367" y="167"/>
                      <a:pt x="356" y="213"/>
                    </a:cubicBezTo>
                    <a:cubicBezTo>
                      <a:pt x="339" y="292"/>
                      <a:pt x="280" y="415"/>
                      <a:pt x="254" y="415"/>
                    </a:cubicBezTo>
                    <a:cubicBezTo>
                      <a:pt x="210" y="415"/>
                      <a:pt x="0" y="310"/>
                      <a:pt x="0" y="310"/>
                    </a:cubicBezTo>
                    <a:cubicBezTo>
                      <a:pt x="32" y="210"/>
                      <a:pt x="32" y="210"/>
                      <a:pt x="32" y="210"/>
                    </a:cubicBezTo>
                    <a:cubicBezTo>
                      <a:pt x="32" y="210"/>
                      <a:pt x="184" y="261"/>
                      <a:pt x="206" y="270"/>
                    </a:cubicBezTo>
                    <a:cubicBezTo>
                      <a:pt x="217" y="275"/>
                      <a:pt x="241" y="108"/>
                      <a:pt x="282" y="62"/>
                    </a:cubicBezTo>
                    <a:cubicBezTo>
                      <a:pt x="298" y="44"/>
                      <a:pt x="353" y="0"/>
                      <a:pt x="366" y="17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 78">
                <a:extLst>
                  <a:ext uri="{FF2B5EF4-FFF2-40B4-BE49-F238E27FC236}">
                    <a16:creationId xmlns:a16="http://schemas.microsoft.com/office/drawing/2014/main" id="{F658C386-4C7E-406A-B8E4-57D112465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3808" y="3646501"/>
                <a:ext cx="239079" cy="482328"/>
              </a:xfrm>
              <a:custGeom>
                <a:avLst/>
                <a:gdLst>
                  <a:gd name="T0" fmla="*/ 84 w 188"/>
                  <a:gd name="T1" fmla="*/ 50 h 379"/>
                  <a:gd name="T2" fmla="*/ 15 w 188"/>
                  <a:gd name="T3" fmla="*/ 183 h 379"/>
                  <a:gd name="T4" fmla="*/ 68 w 188"/>
                  <a:gd name="T5" fmla="*/ 358 h 379"/>
                  <a:gd name="T6" fmla="*/ 188 w 188"/>
                  <a:gd name="T7" fmla="*/ 8 h 379"/>
                  <a:gd name="T8" fmla="*/ 102 w 188"/>
                  <a:gd name="T9" fmla="*/ 0 h 379"/>
                  <a:gd name="T10" fmla="*/ 55 w 188"/>
                  <a:gd name="T11" fmla="*/ 214 h 379"/>
                  <a:gd name="T12" fmla="*/ 84 w 188"/>
                  <a:gd name="T13" fmla="*/ 5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8" h="379">
                    <a:moveTo>
                      <a:pt x="84" y="50"/>
                    </a:moveTo>
                    <a:cubicBezTo>
                      <a:pt x="58" y="85"/>
                      <a:pt x="23" y="147"/>
                      <a:pt x="15" y="183"/>
                    </a:cubicBezTo>
                    <a:cubicBezTo>
                      <a:pt x="0" y="249"/>
                      <a:pt x="24" y="379"/>
                      <a:pt x="68" y="358"/>
                    </a:cubicBezTo>
                    <a:cubicBezTo>
                      <a:pt x="133" y="328"/>
                      <a:pt x="188" y="8"/>
                      <a:pt x="188" y="8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25" y="196"/>
                      <a:pt x="55" y="214"/>
                    </a:cubicBezTo>
                    <a:cubicBezTo>
                      <a:pt x="63" y="219"/>
                      <a:pt x="95" y="37"/>
                      <a:pt x="84" y="5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3C98211-228A-4BFB-9E6B-3876EAEEE863}"/>
                </a:ext>
              </a:extLst>
            </p:cNvPr>
            <p:cNvGrpSpPr/>
            <p:nvPr/>
          </p:nvGrpSpPr>
          <p:grpSpPr>
            <a:xfrm>
              <a:off x="1093375" y="2988227"/>
              <a:ext cx="961874" cy="2586776"/>
              <a:chOff x="2386602" y="3141935"/>
              <a:chExt cx="961874" cy="2586776"/>
            </a:xfrm>
          </p:grpSpPr>
          <p:sp>
            <p:nvSpPr>
              <p:cNvPr id="71" name="Freeform 79">
                <a:extLst>
                  <a:ext uri="{FF2B5EF4-FFF2-40B4-BE49-F238E27FC236}">
                    <a16:creationId xmlns:a16="http://schemas.microsoft.com/office/drawing/2014/main" id="{ADE13149-0A45-41FD-BA5D-4CFC6067B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0827" y="3381013"/>
                <a:ext cx="187649" cy="465648"/>
              </a:xfrm>
              <a:custGeom>
                <a:avLst/>
                <a:gdLst>
                  <a:gd name="T0" fmla="*/ 71 w 135"/>
                  <a:gd name="T1" fmla="*/ 0 h 335"/>
                  <a:gd name="T2" fmla="*/ 135 w 135"/>
                  <a:gd name="T3" fmla="*/ 272 h 335"/>
                  <a:gd name="T4" fmla="*/ 115 w 135"/>
                  <a:gd name="T5" fmla="*/ 295 h 335"/>
                  <a:gd name="T6" fmla="*/ 34 w 135"/>
                  <a:gd name="T7" fmla="*/ 335 h 335"/>
                  <a:gd name="T8" fmla="*/ 13 w 135"/>
                  <a:gd name="T9" fmla="*/ 193 h 335"/>
                  <a:gd name="T10" fmla="*/ 0 w 135"/>
                  <a:gd name="T11" fmla="*/ 2 h 335"/>
                  <a:gd name="T12" fmla="*/ 71 w 135"/>
                  <a:gd name="T13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335">
                    <a:moveTo>
                      <a:pt x="71" y="0"/>
                    </a:moveTo>
                    <a:lnTo>
                      <a:pt x="135" y="272"/>
                    </a:lnTo>
                    <a:lnTo>
                      <a:pt x="115" y="295"/>
                    </a:lnTo>
                    <a:lnTo>
                      <a:pt x="34" y="335"/>
                    </a:lnTo>
                    <a:lnTo>
                      <a:pt x="13" y="193"/>
                    </a:lnTo>
                    <a:lnTo>
                      <a:pt x="0" y="2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ECC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80">
                <a:extLst>
                  <a:ext uri="{FF2B5EF4-FFF2-40B4-BE49-F238E27FC236}">
                    <a16:creationId xmlns:a16="http://schemas.microsoft.com/office/drawing/2014/main" id="{61756B4E-3E92-4218-BC10-91E43B7D8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229" y="3494993"/>
                <a:ext cx="490668" cy="347498"/>
              </a:xfrm>
              <a:custGeom>
                <a:avLst/>
                <a:gdLst>
                  <a:gd name="T0" fmla="*/ 386 w 386"/>
                  <a:gd name="T1" fmla="*/ 261 h 273"/>
                  <a:gd name="T2" fmla="*/ 336 w 386"/>
                  <a:gd name="T3" fmla="*/ 273 h 273"/>
                  <a:gd name="T4" fmla="*/ 88 w 386"/>
                  <a:gd name="T5" fmla="*/ 199 h 273"/>
                  <a:gd name="T6" fmla="*/ 3 w 386"/>
                  <a:gd name="T7" fmla="*/ 81 h 273"/>
                  <a:gd name="T8" fmla="*/ 104 w 386"/>
                  <a:gd name="T9" fmla="*/ 10 h 273"/>
                  <a:gd name="T10" fmla="*/ 345 w 386"/>
                  <a:gd name="T11" fmla="*/ 109 h 273"/>
                  <a:gd name="T12" fmla="*/ 386 w 386"/>
                  <a:gd name="T13" fmla="*/ 261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6" h="273">
                    <a:moveTo>
                      <a:pt x="386" y="261"/>
                    </a:moveTo>
                    <a:cubicBezTo>
                      <a:pt x="336" y="273"/>
                      <a:pt x="336" y="273"/>
                      <a:pt x="336" y="273"/>
                    </a:cubicBezTo>
                    <a:cubicBezTo>
                      <a:pt x="336" y="273"/>
                      <a:pt x="127" y="217"/>
                      <a:pt x="88" y="199"/>
                    </a:cubicBezTo>
                    <a:cubicBezTo>
                      <a:pt x="70" y="190"/>
                      <a:pt x="0" y="128"/>
                      <a:pt x="3" y="81"/>
                    </a:cubicBezTo>
                    <a:cubicBezTo>
                      <a:pt x="6" y="30"/>
                      <a:pt x="54" y="0"/>
                      <a:pt x="104" y="10"/>
                    </a:cubicBezTo>
                    <a:cubicBezTo>
                      <a:pt x="157" y="21"/>
                      <a:pt x="345" y="109"/>
                      <a:pt x="345" y="109"/>
                    </a:cubicBezTo>
                    <a:lnTo>
                      <a:pt x="386" y="261"/>
                    </a:ln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81">
                <a:extLst>
                  <a:ext uri="{FF2B5EF4-FFF2-40B4-BE49-F238E27FC236}">
                    <a16:creationId xmlns:a16="http://schemas.microsoft.com/office/drawing/2014/main" id="{19B03489-4101-4E37-ABE0-F1B7A791F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7118" y="3239234"/>
                <a:ext cx="148730" cy="86180"/>
              </a:xfrm>
              <a:custGeom>
                <a:avLst/>
                <a:gdLst>
                  <a:gd name="T0" fmla="*/ 107 w 107"/>
                  <a:gd name="T1" fmla="*/ 46 h 62"/>
                  <a:gd name="T2" fmla="*/ 35 w 107"/>
                  <a:gd name="T3" fmla="*/ 60 h 62"/>
                  <a:gd name="T4" fmla="*/ 23 w 107"/>
                  <a:gd name="T5" fmla="*/ 59 h 62"/>
                  <a:gd name="T6" fmla="*/ 9 w 107"/>
                  <a:gd name="T7" fmla="*/ 62 h 62"/>
                  <a:gd name="T8" fmla="*/ 0 w 107"/>
                  <a:gd name="T9" fmla="*/ 23 h 62"/>
                  <a:gd name="T10" fmla="*/ 15 w 107"/>
                  <a:gd name="T11" fmla="*/ 20 h 62"/>
                  <a:gd name="T12" fmla="*/ 26 w 107"/>
                  <a:gd name="T13" fmla="*/ 14 h 62"/>
                  <a:gd name="T14" fmla="*/ 97 w 107"/>
                  <a:gd name="T15" fmla="*/ 0 h 62"/>
                  <a:gd name="T16" fmla="*/ 107 w 107"/>
                  <a:gd name="T17" fmla="*/ 4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62">
                    <a:moveTo>
                      <a:pt x="107" y="46"/>
                    </a:moveTo>
                    <a:lnTo>
                      <a:pt x="35" y="60"/>
                    </a:lnTo>
                    <a:lnTo>
                      <a:pt x="23" y="59"/>
                    </a:lnTo>
                    <a:lnTo>
                      <a:pt x="9" y="62"/>
                    </a:lnTo>
                    <a:lnTo>
                      <a:pt x="0" y="23"/>
                    </a:lnTo>
                    <a:lnTo>
                      <a:pt x="15" y="20"/>
                    </a:lnTo>
                    <a:lnTo>
                      <a:pt x="26" y="14"/>
                    </a:lnTo>
                    <a:lnTo>
                      <a:pt x="97" y="0"/>
                    </a:lnTo>
                    <a:lnTo>
                      <a:pt x="107" y="46"/>
                    </a:ln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82">
                <a:extLst>
                  <a:ext uri="{FF2B5EF4-FFF2-40B4-BE49-F238E27FC236}">
                    <a16:creationId xmlns:a16="http://schemas.microsoft.com/office/drawing/2014/main" id="{5C512850-685F-4764-AC8B-62C6EFA78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707" y="3207264"/>
                <a:ext cx="151510" cy="100079"/>
              </a:xfrm>
              <a:custGeom>
                <a:avLst/>
                <a:gdLst>
                  <a:gd name="T0" fmla="*/ 109 w 109"/>
                  <a:gd name="T1" fmla="*/ 60 h 72"/>
                  <a:gd name="T2" fmla="*/ 84 w 109"/>
                  <a:gd name="T3" fmla="*/ 64 h 72"/>
                  <a:gd name="T4" fmla="*/ 9 w 109"/>
                  <a:gd name="T5" fmla="*/ 72 h 72"/>
                  <a:gd name="T6" fmla="*/ 0 w 109"/>
                  <a:gd name="T7" fmla="*/ 26 h 72"/>
                  <a:gd name="T8" fmla="*/ 72 w 109"/>
                  <a:gd name="T9" fmla="*/ 5 h 72"/>
                  <a:gd name="T10" fmla="*/ 97 w 109"/>
                  <a:gd name="T11" fmla="*/ 0 h 72"/>
                  <a:gd name="T12" fmla="*/ 109 w 109"/>
                  <a:gd name="T13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72">
                    <a:moveTo>
                      <a:pt x="109" y="60"/>
                    </a:moveTo>
                    <a:lnTo>
                      <a:pt x="84" y="64"/>
                    </a:lnTo>
                    <a:lnTo>
                      <a:pt x="9" y="72"/>
                    </a:lnTo>
                    <a:lnTo>
                      <a:pt x="0" y="26"/>
                    </a:lnTo>
                    <a:lnTo>
                      <a:pt x="72" y="5"/>
                    </a:lnTo>
                    <a:lnTo>
                      <a:pt x="97" y="0"/>
                    </a:lnTo>
                    <a:lnTo>
                      <a:pt x="109" y="60"/>
                    </a:ln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 83">
                <a:extLst>
                  <a:ext uri="{FF2B5EF4-FFF2-40B4-BE49-F238E27FC236}">
                    <a16:creationId xmlns:a16="http://schemas.microsoft.com/office/drawing/2014/main" id="{FDE70E44-A948-4043-B3BB-438C36579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3568" y="3214214"/>
                <a:ext cx="150119" cy="168190"/>
              </a:xfrm>
              <a:custGeom>
                <a:avLst/>
                <a:gdLst>
                  <a:gd name="T0" fmla="*/ 47 w 118"/>
                  <a:gd name="T1" fmla="*/ 131 h 133"/>
                  <a:gd name="T2" fmla="*/ 12 w 118"/>
                  <a:gd name="T3" fmla="*/ 95 h 133"/>
                  <a:gd name="T4" fmla="*/ 4 w 118"/>
                  <a:gd name="T5" fmla="*/ 25 h 133"/>
                  <a:gd name="T6" fmla="*/ 22 w 118"/>
                  <a:gd name="T7" fmla="*/ 14 h 133"/>
                  <a:gd name="T8" fmla="*/ 34 w 118"/>
                  <a:gd name="T9" fmla="*/ 6 h 133"/>
                  <a:gd name="T10" fmla="*/ 53 w 118"/>
                  <a:gd name="T11" fmla="*/ 3 h 133"/>
                  <a:gd name="T12" fmla="*/ 77 w 118"/>
                  <a:gd name="T13" fmla="*/ 10 h 133"/>
                  <a:gd name="T14" fmla="*/ 93 w 118"/>
                  <a:gd name="T15" fmla="*/ 58 h 133"/>
                  <a:gd name="T16" fmla="*/ 111 w 118"/>
                  <a:gd name="T17" fmla="*/ 85 h 133"/>
                  <a:gd name="T18" fmla="*/ 114 w 118"/>
                  <a:gd name="T19" fmla="*/ 133 h 133"/>
                  <a:gd name="T20" fmla="*/ 47 w 118"/>
                  <a:gd name="T21" fmla="*/ 131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" h="133">
                    <a:moveTo>
                      <a:pt x="47" y="131"/>
                    </a:moveTo>
                    <a:cubicBezTo>
                      <a:pt x="12" y="95"/>
                      <a:pt x="12" y="95"/>
                      <a:pt x="12" y="95"/>
                    </a:cubicBezTo>
                    <a:cubicBezTo>
                      <a:pt x="12" y="95"/>
                      <a:pt x="0" y="32"/>
                      <a:pt x="4" y="25"/>
                    </a:cubicBezTo>
                    <a:cubicBezTo>
                      <a:pt x="12" y="11"/>
                      <a:pt x="17" y="27"/>
                      <a:pt x="22" y="14"/>
                    </a:cubicBezTo>
                    <a:cubicBezTo>
                      <a:pt x="25" y="5"/>
                      <a:pt x="31" y="6"/>
                      <a:pt x="34" y="6"/>
                    </a:cubicBezTo>
                    <a:cubicBezTo>
                      <a:pt x="41" y="6"/>
                      <a:pt x="43" y="8"/>
                      <a:pt x="53" y="3"/>
                    </a:cubicBezTo>
                    <a:cubicBezTo>
                      <a:pt x="61" y="0"/>
                      <a:pt x="71" y="5"/>
                      <a:pt x="77" y="10"/>
                    </a:cubicBezTo>
                    <a:cubicBezTo>
                      <a:pt x="83" y="16"/>
                      <a:pt x="87" y="52"/>
                      <a:pt x="93" y="58"/>
                    </a:cubicBezTo>
                    <a:cubicBezTo>
                      <a:pt x="101" y="68"/>
                      <a:pt x="106" y="73"/>
                      <a:pt x="111" y="85"/>
                    </a:cubicBezTo>
                    <a:cubicBezTo>
                      <a:pt x="118" y="102"/>
                      <a:pt x="114" y="133"/>
                      <a:pt x="114" y="133"/>
                    </a:cubicBezTo>
                    <a:lnTo>
                      <a:pt x="47" y="131"/>
                    </a:lnTo>
                    <a:close/>
                  </a:path>
                </a:pathLst>
              </a:custGeom>
              <a:solidFill>
                <a:srgbClr val="ECC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84">
                <a:extLst>
                  <a:ext uri="{FF2B5EF4-FFF2-40B4-BE49-F238E27FC236}">
                    <a16:creationId xmlns:a16="http://schemas.microsoft.com/office/drawing/2014/main" id="{6403CA3B-AB46-414D-BE12-211DF3F6C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439" y="5599441"/>
                <a:ext cx="266879" cy="129270"/>
              </a:xfrm>
              <a:custGeom>
                <a:avLst/>
                <a:gdLst>
                  <a:gd name="T0" fmla="*/ 0 w 210"/>
                  <a:gd name="T1" fmla="*/ 70 h 102"/>
                  <a:gd name="T2" fmla="*/ 0 w 210"/>
                  <a:gd name="T3" fmla="*/ 34 h 102"/>
                  <a:gd name="T4" fmla="*/ 5 w 210"/>
                  <a:gd name="T5" fmla="*/ 8 h 102"/>
                  <a:gd name="T6" fmla="*/ 46 w 210"/>
                  <a:gd name="T7" fmla="*/ 9 h 102"/>
                  <a:gd name="T8" fmla="*/ 87 w 210"/>
                  <a:gd name="T9" fmla="*/ 0 h 102"/>
                  <a:gd name="T10" fmla="*/ 96 w 210"/>
                  <a:gd name="T11" fmla="*/ 28 h 102"/>
                  <a:gd name="T12" fmla="*/ 151 w 210"/>
                  <a:gd name="T13" fmla="*/ 70 h 102"/>
                  <a:gd name="T14" fmla="*/ 194 w 210"/>
                  <a:gd name="T15" fmla="*/ 83 h 102"/>
                  <a:gd name="T16" fmla="*/ 196 w 210"/>
                  <a:gd name="T17" fmla="*/ 102 h 102"/>
                  <a:gd name="T18" fmla="*/ 90 w 210"/>
                  <a:gd name="T19" fmla="*/ 102 h 102"/>
                  <a:gd name="T20" fmla="*/ 56 w 210"/>
                  <a:gd name="T21" fmla="*/ 88 h 102"/>
                  <a:gd name="T22" fmla="*/ 55 w 210"/>
                  <a:gd name="T23" fmla="*/ 102 h 102"/>
                  <a:gd name="T24" fmla="*/ 5 w 210"/>
                  <a:gd name="T25" fmla="*/ 102 h 102"/>
                  <a:gd name="T26" fmla="*/ 0 w 210"/>
                  <a:gd name="T27" fmla="*/ 7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0" h="102">
                    <a:moveTo>
                      <a:pt x="0" y="70"/>
                    </a:moveTo>
                    <a:cubicBezTo>
                      <a:pt x="0" y="34"/>
                      <a:pt x="0" y="34"/>
                      <a:pt x="0" y="3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46" y="9"/>
                      <a:pt x="46" y="9"/>
                      <a:pt x="46" y="9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0"/>
                      <a:pt x="95" y="28"/>
                      <a:pt x="96" y="28"/>
                    </a:cubicBezTo>
                    <a:cubicBezTo>
                      <a:pt x="98" y="29"/>
                      <a:pt x="132" y="63"/>
                      <a:pt x="151" y="70"/>
                    </a:cubicBezTo>
                    <a:cubicBezTo>
                      <a:pt x="161" y="74"/>
                      <a:pt x="185" y="78"/>
                      <a:pt x="194" y="83"/>
                    </a:cubicBezTo>
                    <a:cubicBezTo>
                      <a:pt x="210" y="92"/>
                      <a:pt x="196" y="102"/>
                      <a:pt x="196" y="102"/>
                    </a:cubicBezTo>
                    <a:cubicBezTo>
                      <a:pt x="90" y="102"/>
                      <a:pt x="90" y="102"/>
                      <a:pt x="90" y="102"/>
                    </a:cubicBezTo>
                    <a:cubicBezTo>
                      <a:pt x="56" y="88"/>
                      <a:pt x="56" y="88"/>
                      <a:pt x="56" y="88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5" y="102"/>
                      <a:pt x="5" y="102"/>
                      <a:pt x="5" y="102"/>
                    </a:cubicBez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 85">
                <a:extLst>
                  <a:ext uri="{FF2B5EF4-FFF2-40B4-BE49-F238E27FC236}">
                    <a16:creationId xmlns:a16="http://schemas.microsoft.com/office/drawing/2014/main" id="{C1D96141-182C-40CE-88A4-8549DA586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6602" y="5570251"/>
                <a:ext cx="239079" cy="158459"/>
              </a:xfrm>
              <a:custGeom>
                <a:avLst/>
                <a:gdLst>
                  <a:gd name="T0" fmla="*/ 12 w 188"/>
                  <a:gd name="T1" fmla="*/ 34 h 125"/>
                  <a:gd name="T2" fmla="*/ 45 w 188"/>
                  <a:gd name="T3" fmla="*/ 0 h 125"/>
                  <a:gd name="T4" fmla="*/ 79 w 188"/>
                  <a:gd name="T5" fmla="*/ 14 h 125"/>
                  <a:gd name="T6" fmla="*/ 118 w 188"/>
                  <a:gd name="T7" fmla="*/ 21 h 125"/>
                  <a:gd name="T8" fmla="*/ 148 w 188"/>
                  <a:gd name="T9" fmla="*/ 96 h 125"/>
                  <a:gd name="T10" fmla="*/ 178 w 188"/>
                  <a:gd name="T11" fmla="*/ 106 h 125"/>
                  <a:gd name="T12" fmla="*/ 183 w 188"/>
                  <a:gd name="T13" fmla="*/ 125 h 125"/>
                  <a:gd name="T14" fmla="*/ 101 w 188"/>
                  <a:gd name="T15" fmla="*/ 125 h 125"/>
                  <a:gd name="T16" fmla="*/ 52 w 188"/>
                  <a:gd name="T17" fmla="*/ 77 h 125"/>
                  <a:gd name="T18" fmla="*/ 44 w 188"/>
                  <a:gd name="T19" fmla="*/ 90 h 125"/>
                  <a:gd name="T20" fmla="*/ 0 w 188"/>
                  <a:gd name="T21" fmla="*/ 64 h 125"/>
                  <a:gd name="T22" fmla="*/ 12 w 188"/>
                  <a:gd name="T23" fmla="*/ 3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8" h="125">
                    <a:moveTo>
                      <a:pt x="12" y="34"/>
                    </a:move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67" y="7"/>
                      <a:pt x="79" y="14"/>
                    </a:cubicBezTo>
                    <a:cubicBezTo>
                      <a:pt x="86" y="19"/>
                      <a:pt x="117" y="19"/>
                      <a:pt x="118" y="21"/>
                    </a:cubicBezTo>
                    <a:cubicBezTo>
                      <a:pt x="119" y="23"/>
                      <a:pt x="139" y="92"/>
                      <a:pt x="148" y="96"/>
                    </a:cubicBezTo>
                    <a:cubicBezTo>
                      <a:pt x="159" y="102"/>
                      <a:pt x="171" y="102"/>
                      <a:pt x="178" y="106"/>
                    </a:cubicBezTo>
                    <a:cubicBezTo>
                      <a:pt x="188" y="110"/>
                      <a:pt x="183" y="125"/>
                      <a:pt x="183" y="125"/>
                    </a:cubicBezTo>
                    <a:cubicBezTo>
                      <a:pt x="101" y="125"/>
                      <a:pt x="101" y="125"/>
                      <a:pt x="101" y="125"/>
                    </a:cubicBezTo>
                    <a:cubicBezTo>
                      <a:pt x="52" y="77"/>
                      <a:pt x="52" y="77"/>
                      <a:pt x="52" y="77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0" y="64"/>
                      <a:pt x="0" y="64"/>
                      <a:pt x="0" y="64"/>
                    </a:cubicBezTo>
                    <a:lnTo>
                      <a:pt x="12" y="34"/>
                    </a:ln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 86">
                <a:extLst>
                  <a:ext uri="{FF2B5EF4-FFF2-40B4-BE49-F238E27FC236}">
                    <a16:creationId xmlns:a16="http://schemas.microsoft.com/office/drawing/2014/main" id="{F6371A16-6CB4-4C83-BBF3-3245C5C675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5029" y="3381013"/>
                <a:ext cx="191819" cy="257149"/>
              </a:xfrm>
              <a:custGeom>
                <a:avLst/>
                <a:gdLst>
                  <a:gd name="T0" fmla="*/ 138 w 138"/>
                  <a:gd name="T1" fmla="*/ 185 h 185"/>
                  <a:gd name="T2" fmla="*/ 0 w 138"/>
                  <a:gd name="T3" fmla="*/ 144 h 185"/>
                  <a:gd name="T4" fmla="*/ 20 w 138"/>
                  <a:gd name="T5" fmla="*/ 0 h 185"/>
                  <a:gd name="T6" fmla="*/ 117 w 138"/>
                  <a:gd name="T7" fmla="*/ 47 h 185"/>
                  <a:gd name="T8" fmla="*/ 131 w 138"/>
                  <a:gd name="T9" fmla="*/ 156 h 185"/>
                  <a:gd name="T10" fmla="*/ 138 w 138"/>
                  <a:gd name="T1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185">
                    <a:moveTo>
                      <a:pt x="138" y="185"/>
                    </a:moveTo>
                    <a:lnTo>
                      <a:pt x="0" y="144"/>
                    </a:lnTo>
                    <a:lnTo>
                      <a:pt x="20" y="0"/>
                    </a:lnTo>
                    <a:lnTo>
                      <a:pt x="117" y="47"/>
                    </a:lnTo>
                    <a:lnTo>
                      <a:pt x="131" y="156"/>
                    </a:lnTo>
                    <a:lnTo>
                      <a:pt x="138" y="185"/>
                    </a:lnTo>
                    <a:close/>
                  </a:path>
                </a:pathLst>
              </a:custGeom>
              <a:solidFill>
                <a:srgbClr val="F0D0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 87">
                <a:extLst>
                  <a:ext uri="{FF2B5EF4-FFF2-40B4-BE49-F238E27FC236}">
                    <a16:creationId xmlns:a16="http://schemas.microsoft.com/office/drawing/2014/main" id="{B472E1B0-4C45-48A0-BAA2-8A93C63C3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979" y="3577002"/>
                <a:ext cx="232129" cy="269659"/>
              </a:xfrm>
              <a:custGeom>
                <a:avLst/>
                <a:gdLst>
                  <a:gd name="T0" fmla="*/ 0 w 167"/>
                  <a:gd name="T1" fmla="*/ 2 h 194"/>
                  <a:gd name="T2" fmla="*/ 126 w 167"/>
                  <a:gd name="T3" fmla="*/ 26 h 194"/>
                  <a:gd name="T4" fmla="*/ 161 w 167"/>
                  <a:gd name="T5" fmla="*/ 0 h 194"/>
                  <a:gd name="T6" fmla="*/ 167 w 167"/>
                  <a:gd name="T7" fmla="*/ 194 h 194"/>
                  <a:gd name="T8" fmla="*/ 0 w 167"/>
                  <a:gd name="T9" fmla="*/ 2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94">
                    <a:moveTo>
                      <a:pt x="0" y="2"/>
                    </a:moveTo>
                    <a:lnTo>
                      <a:pt x="126" y="26"/>
                    </a:lnTo>
                    <a:lnTo>
                      <a:pt x="161" y="0"/>
                    </a:lnTo>
                    <a:lnTo>
                      <a:pt x="167" y="194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 88">
                <a:extLst>
                  <a:ext uri="{FF2B5EF4-FFF2-40B4-BE49-F238E27FC236}">
                    <a16:creationId xmlns:a16="http://schemas.microsoft.com/office/drawing/2014/main" id="{359E223E-55D6-4F6F-AD9D-1D54EEC8A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742" y="4333158"/>
                <a:ext cx="649127" cy="1296863"/>
              </a:xfrm>
              <a:custGeom>
                <a:avLst/>
                <a:gdLst>
                  <a:gd name="T0" fmla="*/ 148 w 467"/>
                  <a:gd name="T1" fmla="*/ 0 h 933"/>
                  <a:gd name="T2" fmla="*/ 104 w 467"/>
                  <a:gd name="T3" fmla="*/ 157 h 933"/>
                  <a:gd name="T4" fmla="*/ 126 w 467"/>
                  <a:gd name="T5" fmla="*/ 542 h 933"/>
                  <a:gd name="T6" fmla="*/ 87 w 467"/>
                  <a:gd name="T7" fmla="*/ 602 h 933"/>
                  <a:gd name="T8" fmla="*/ 0 w 467"/>
                  <a:gd name="T9" fmla="*/ 890 h 933"/>
                  <a:gd name="T10" fmla="*/ 53 w 467"/>
                  <a:gd name="T11" fmla="*/ 919 h 933"/>
                  <a:gd name="T12" fmla="*/ 88 w 467"/>
                  <a:gd name="T13" fmla="*/ 919 h 933"/>
                  <a:gd name="T14" fmla="*/ 239 w 467"/>
                  <a:gd name="T15" fmla="*/ 597 h 933"/>
                  <a:gd name="T16" fmla="*/ 256 w 467"/>
                  <a:gd name="T17" fmla="*/ 575 h 933"/>
                  <a:gd name="T18" fmla="*/ 305 w 467"/>
                  <a:gd name="T19" fmla="*/ 396 h 933"/>
                  <a:gd name="T20" fmla="*/ 333 w 467"/>
                  <a:gd name="T21" fmla="*/ 519 h 933"/>
                  <a:gd name="T22" fmla="*/ 310 w 467"/>
                  <a:gd name="T23" fmla="*/ 604 h 933"/>
                  <a:gd name="T24" fmla="*/ 329 w 467"/>
                  <a:gd name="T25" fmla="*/ 931 h 933"/>
                  <a:gd name="T26" fmla="*/ 391 w 467"/>
                  <a:gd name="T27" fmla="*/ 933 h 933"/>
                  <a:gd name="T28" fmla="*/ 420 w 467"/>
                  <a:gd name="T29" fmla="*/ 930 h 933"/>
                  <a:gd name="T30" fmla="*/ 449 w 467"/>
                  <a:gd name="T31" fmla="*/ 569 h 933"/>
                  <a:gd name="T32" fmla="*/ 467 w 467"/>
                  <a:gd name="T33" fmla="*/ 538 h 933"/>
                  <a:gd name="T34" fmla="*/ 463 w 467"/>
                  <a:gd name="T35" fmla="*/ 6 h 933"/>
                  <a:gd name="T36" fmla="*/ 148 w 467"/>
                  <a:gd name="T37" fmla="*/ 0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7" h="933">
                    <a:moveTo>
                      <a:pt x="148" y="0"/>
                    </a:moveTo>
                    <a:lnTo>
                      <a:pt x="104" y="157"/>
                    </a:lnTo>
                    <a:lnTo>
                      <a:pt x="126" y="542"/>
                    </a:lnTo>
                    <a:lnTo>
                      <a:pt x="87" y="602"/>
                    </a:lnTo>
                    <a:lnTo>
                      <a:pt x="0" y="890"/>
                    </a:lnTo>
                    <a:lnTo>
                      <a:pt x="53" y="919"/>
                    </a:lnTo>
                    <a:lnTo>
                      <a:pt x="88" y="919"/>
                    </a:lnTo>
                    <a:lnTo>
                      <a:pt x="239" y="597"/>
                    </a:lnTo>
                    <a:lnTo>
                      <a:pt x="256" y="575"/>
                    </a:lnTo>
                    <a:lnTo>
                      <a:pt x="305" y="396"/>
                    </a:lnTo>
                    <a:lnTo>
                      <a:pt x="333" y="519"/>
                    </a:lnTo>
                    <a:lnTo>
                      <a:pt x="310" y="604"/>
                    </a:lnTo>
                    <a:lnTo>
                      <a:pt x="329" y="931"/>
                    </a:lnTo>
                    <a:lnTo>
                      <a:pt x="391" y="933"/>
                    </a:lnTo>
                    <a:lnTo>
                      <a:pt x="420" y="930"/>
                    </a:lnTo>
                    <a:lnTo>
                      <a:pt x="449" y="569"/>
                    </a:lnTo>
                    <a:lnTo>
                      <a:pt x="467" y="538"/>
                    </a:lnTo>
                    <a:lnTo>
                      <a:pt x="463" y="6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 89">
                <a:extLst>
                  <a:ext uri="{FF2B5EF4-FFF2-40B4-BE49-F238E27FC236}">
                    <a16:creationId xmlns:a16="http://schemas.microsoft.com/office/drawing/2014/main" id="{66B4408D-9293-4286-A2F1-9655B07D9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0390" y="3517233"/>
                <a:ext cx="537927" cy="902106"/>
              </a:xfrm>
              <a:custGeom>
                <a:avLst/>
                <a:gdLst>
                  <a:gd name="T0" fmla="*/ 85 w 423"/>
                  <a:gd name="T1" fmla="*/ 63 h 710"/>
                  <a:gd name="T2" fmla="*/ 186 w 423"/>
                  <a:gd name="T3" fmla="*/ 9 h 710"/>
                  <a:gd name="T4" fmla="*/ 251 w 423"/>
                  <a:gd name="T5" fmla="*/ 58 h 710"/>
                  <a:gd name="T6" fmla="*/ 371 w 423"/>
                  <a:gd name="T7" fmla="*/ 179 h 710"/>
                  <a:gd name="T8" fmla="*/ 333 w 423"/>
                  <a:gd name="T9" fmla="*/ 15 h 710"/>
                  <a:gd name="T10" fmla="*/ 343 w 423"/>
                  <a:gd name="T11" fmla="*/ 0 h 710"/>
                  <a:gd name="T12" fmla="*/ 387 w 423"/>
                  <a:gd name="T13" fmla="*/ 34 h 710"/>
                  <a:gd name="T14" fmla="*/ 423 w 423"/>
                  <a:gd name="T15" fmla="*/ 310 h 710"/>
                  <a:gd name="T16" fmla="*/ 372 w 423"/>
                  <a:gd name="T17" fmla="*/ 700 h 710"/>
                  <a:gd name="T18" fmla="*/ 261 w 423"/>
                  <a:gd name="T19" fmla="*/ 710 h 710"/>
                  <a:gd name="T20" fmla="*/ 0 w 423"/>
                  <a:gd name="T21" fmla="*/ 660 h 710"/>
                  <a:gd name="T22" fmla="*/ 25 w 423"/>
                  <a:gd name="T23" fmla="*/ 524 h 710"/>
                  <a:gd name="T24" fmla="*/ 52 w 423"/>
                  <a:gd name="T25" fmla="*/ 412 h 710"/>
                  <a:gd name="T26" fmla="*/ 40 w 423"/>
                  <a:gd name="T27" fmla="*/ 135 h 710"/>
                  <a:gd name="T28" fmla="*/ 85 w 423"/>
                  <a:gd name="T29" fmla="*/ 63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3" h="710">
                    <a:moveTo>
                      <a:pt x="85" y="63"/>
                    </a:moveTo>
                    <a:cubicBezTo>
                      <a:pt x="108" y="46"/>
                      <a:pt x="186" y="9"/>
                      <a:pt x="186" y="9"/>
                    </a:cubicBezTo>
                    <a:cubicBezTo>
                      <a:pt x="251" y="58"/>
                      <a:pt x="251" y="58"/>
                      <a:pt x="251" y="58"/>
                    </a:cubicBezTo>
                    <a:cubicBezTo>
                      <a:pt x="371" y="179"/>
                      <a:pt x="371" y="179"/>
                      <a:pt x="371" y="179"/>
                    </a:cubicBezTo>
                    <a:cubicBezTo>
                      <a:pt x="333" y="15"/>
                      <a:pt x="333" y="15"/>
                      <a:pt x="333" y="15"/>
                    </a:cubicBezTo>
                    <a:cubicBezTo>
                      <a:pt x="343" y="0"/>
                      <a:pt x="343" y="0"/>
                      <a:pt x="343" y="0"/>
                    </a:cubicBezTo>
                    <a:cubicBezTo>
                      <a:pt x="387" y="34"/>
                      <a:pt x="387" y="34"/>
                      <a:pt x="387" y="34"/>
                    </a:cubicBezTo>
                    <a:cubicBezTo>
                      <a:pt x="423" y="310"/>
                      <a:pt x="423" y="310"/>
                      <a:pt x="423" y="310"/>
                    </a:cubicBezTo>
                    <a:cubicBezTo>
                      <a:pt x="372" y="700"/>
                      <a:pt x="372" y="700"/>
                      <a:pt x="372" y="700"/>
                    </a:cubicBezTo>
                    <a:cubicBezTo>
                      <a:pt x="261" y="710"/>
                      <a:pt x="261" y="710"/>
                      <a:pt x="261" y="710"/>
                    </a:cubicBezTo>
                    <a:cubicBezTo>
                      <a:pt x="0" y="660"/>
                      <a:pt x="0" y="660"/>
                      <a:pt x="0" y="660"/>
                    </a:cubicBezTo>
                    <a:cubicBezTo>
                      <a:pt x="25" y="524"/>
                      <a:pt x="25" y="524"/>
                      <a:pt x="25" y="524"/>
                    </a:cubicBezTo>
                    <a:cubicBezTo>
                      <a:pt x="52" y="412"/>
                      <a:pt x="52" y="412"/>
                      <a:pt x="52" y="412"/>
                    </a:cubicBezTo>
                    <a:cubicBezTo>
                      <a:pt x="52" y="412"/>
                      <a:pt x="32" y="194"/>
                      <a:pt x="40" y="135"/>
                    </a:cubicBezTo>
                    <a:cubicBezTo>
                      <a:pt x="45" y="101"/>
                      <a:pt x="68" y="75"/>
                      <a:pt x="85" y="6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90">
                <a:extLst>
                  <a:ext uri="{FF2B5EF4-FFF2-40B4-BE49-F238E27FC236}">
                    <a16:creationId xmlns:a16="http://schemas.microsoft.com/office/drawing/2014/main" id="{0A873B37-971A-4B2A-8840-CA3647BFE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4489" y="3226724"/>
                <a:ext cx="219619" cy="252979"/>
              </a:xfrm>
              <a:custGeom>
                <a:avLst/>
                <a:gdLst>
                  <a:gd name="T0" fmla="*/ 10 w 158"/>
                  <a:gd name="T1" fmla="*/ 107 h 182"/>
                  <a:gd name="T2" fmla="*/ 55 w 158"/>
                  <a:gd name="T3" fmla="*/ 182 h 182"/>
                  <a:gd name="T4" fmla="*/ 138 w 158"/>
                  <a:gd name="T5" fmla="*/ 175 h 182"/>
                  <a:gd name="T6" fmla="*/ 139 w 158"/>
                  <a:gd name="T7" fmla="*/ 165 h 182"/>
                  <a:gd name="T8" fmla="*/ 133 w 158"/>
                  <a:gd name="T9" fmla="*/ 155 h 182"/>
                  <a:gd name="T10" fmla="*/ 136 w 158"/>
                  <a:gd name="T11" fmla="*/ 112 h 182"/>
                  <a:gd name="T12" fmla="*/ 158 w 158"/>
                  <a:gd name="T13" fmla="*/ 102 h 182"/>
                  <a:gd name="T14" fmla="*/ 128 w 158"/>
                  <a:gd name="T15" fmla="*/ 60 h 182"/>
                  <a:gd name="T16" fmla="*/ 111 w 158"/>
                  <a:gd name="T17" fmla="*/ 0 h 182"/>
                  <a:gd name="T18" fmla="*/ 41 w 158"/>
                  <a:gd name="T19" fmla="*/ 17 h 182"/>
                  <a:gd name="T20" fmla="*/ 12 w 158"/>
                  <a:gd name="T21" fmla="*/ 25 h 182"/>
                  <a:gd name="T22" fmla="*/ 0 w 158"/>
                  <a:gd name="T23" fmla="*/ 35 h 182"/>
                  <a:gd name="T24" fmla="*/ 10 w 158"/>
                  <a:gd name="T25" fmla="*/ 10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8" h="182">
                    <a:moveTo>
                      <a:pt x="10" y="107"/>
                    </a:moveTo>
                    <a:lnTo>
                      <a:pt x="55" y="182"/>
                    </a:lnTo>
                    <a:lnTo>
                      <a:pt x="138" y="175"/>
                    </a:lnTo>
                    <a:lnTo>
                      <a:pt x="139" y="165"/>
                    </a:lnTo>
                    <a:lnTo>
                      <a:pt x="133" y="155"/>
                    </a:lnTo>
                    <a:lnTo>
                      <a:pt x="136" y="112"/>
                    </a:lnTo>
                    <a:lnTo>
                      <a:pt x="158" y="102"/>
                    </a:lnTo>
                    <a:lnTo>
                      <a:pt x="128" y="60"/>
                    </a:lnTo>
                    <a:lnTo>
                      <a:pt x="111" y="0"/>
                    </a:lnTo>
                    <a:lnTo>
                      <a:pt x="41" y="17"/>
                    </a:lnTo>
                    <a:lnTo>
                      <a:pt x="12" y="25"/>
                    </a:lnTo>
                    <a:lnTo>
                      <a:pt x="0" y="35"/>
                    </a:lnTo>
                    <a:lnTo>
                      <a:pt x="10" y="107"/>
                    </a:lnTo>
                    <a:close/>
                  </a:path>
                </a:pathLst>
              </a:custGeom>
              <a:solidFill>
                <a:srgbClr val="F0D0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91">
                <a:extLst>
                  <a:ext uri="{FF2B5EF4-FFF2-40B4-BE49-F238E27FC236}">
                    <a16:creationId xmlns:a16="http://schemas.microsoft.com/office/drawing/2014/main" id="{27F6F1C1-51D7-45F0-B476-8CBDBECEF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7769" y="3504722"/>
                <a:ext cx="229349" cy="170970"/>
              </a:xfrm>
              <a:custGeom>
                <a:avLst/>
                <a:gdLst>
                  <a:gd name="T0" fmla="*/ 0 w 165"/>
                  <a:gd name="T1" fmla="*/ 34 h 123"/>
                  <a:gd name="T2" fmla="*/ 38 w 165"/>
                  <a:gd name="T3" fmla="*/ 0 h 123"/>
                  <a:gd name="T4" fmla="*/ 165 w 165"/>
                  <a:gd name="T5" fmla="*/ 78 h 123"/>
                  <a:gd name="T6" fmla="*/ 162 w 165"/>
                  <a:gd name="T7" fmla="*/ 123 h 123"/>
                  <a:gd name="T8" fmla="*/ 0 w 165"/>
                  <a:gd name="T9" fmla="*/ 3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123">
                    <a:moveTo>
                      <a:pt x="0" y="34"/>
                    </a:moveTo>
                    <a:lnTo>
                      <a:pt x="38" y="0"/>
                    </a:lnTo>
                    <a:lnTo>
                      <a:pt x="165" y="78"/>
                    </a:lnTo>
                    <a:lnTo>
                      <a:pt x="162" y="123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92">
                <a:extLst>
                  <a:ext uri="{FF2B5EF4-FFF2-40B4-BE49-F238E27FC236}">
                    <a16:creationId xmlns:a16="http://schemas.microsoft.com/office/drawing/2014/main" id="{E9C4E737-A38A-455E-993C-4825D16481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4608" y="3504722"/>
                <a:ext cx="41700" cy="127879"/>
              </a:xfrm>
              <a:custGeom>
                <a:avLst/>
                <a:gdLst>
                  <a:gd name="T0" fmla="*/ 9 w 30"/>
                  <a:gd name="T1" fmla="*/ 78 h 92"/>
                  <a:gd name="T2" fmla="*/ 0 w 30"/>
                  <a:gd name="T3" fmla="*/ 0 h 92"/>
                  <a:gd name="T4" fmla="*/ 18 w 30"/>
                  <a:gd name="T5" fmla="*/ 7 h 92"/>
                  <a:gd name="T6" fmla="*/ 30 w 30"/>
                  <a:gd name="T7" fmla="*/ 92 h 92"/>
                  <a:gd name="T8" fmla="*/ 9 w 30"/>
                  <a:gd name="T9" fmla="*/ 7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92">
                    <a:moveTo>
                      <a:pt x="9" y="78"/>
                    </a:moveTo>
                    <a:lnTo>
                      <a:pt x="0" y="0"/>
                    </a:lnTo>
                    <a:lnTo>
                      <a:pt x="18" y="7"/>
                    </a:lnTo>
                    <a:lnTo>
                      <a:pt x="30" y="92"/>
                    </a:lnTo>
                    <a:lnTo>
                      <a:pt x="9" y="78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93">
                <a:extLst>
                  <a:ext uri="{FF2B5EF4-FFF2-40B4-BE49-F238E27FC236}">
                    <a16:creationId xmlns:a16="http://schemas.microsoft.com/office/drawing/2014/main" id="{8A29AF5E-9FE9-4452-80D5-82C892CD4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400" y="3141935"/>
                <a:ext cx="241859" cy="148730"/>
              </a:xfrm>
              <a:custGeom>
                <a:avLst/>
                <a:gdLst>
                  <a:gd name="T0" fmla="*/ 153 w 190"/>
                  <a:gd name="T1" fmla="*/ 80 h 117"/>
                  <a:gd name="T2" fmla="*/ 26 w 190"/>
                  <a:gd name="T3" fmla="*/ 117 h 117"/>
                  <a:gd name="T4" fmla="*/ 43 w 190"/>
                  <a:gd name="T5" fmla="*/ 43 h 117"/>
                  <a:gd name="T6" fmla="*/ 151 w 190"/>
                  <a:gd name="T7" fmla="*/ 0 h 117"/>
                  <a:gd name="T8" fmla="*/ 153 w 190"/>
                  <a:gd name="T9" fmla="*/ 8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117">
                    <a:moveTo>
                      <a:pt x="153" y="80"/>
                    </a:moveTo>
                    <a:cubicBezTo>
                      <a:pt x="128" y="100"/>
                      <a:pt x="26" y="117"/>
                      <a:pt x="26" y="117"/>
                    </a:cubicBezTo>
                    <a:cubicBezTo>
                      <a:pt x="26" y="117"/>
                      <a:pt x="0" y="52"/>
                      <a:pt x="43" y="43"/>
                    </a:cubicBezTo>
                    <a:cubicBezTo>
                      <a:pt x="141" y="24"/>
                      <a:pt x="151" y="0"/>
                      <a:pt x="151" y="0"/>
                    </a:cubicBezTo>
                    <a:cubicBezTo>
                      <a:pt x="151" y="0"/>
                      <a:pt x="190" y="51"/>
                      <a:pt x="153" y="80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94">
                <a:extLst>
                  <a:ext uri="{FF2B5EF4-FFF2-40B4-BE49-F238E27FC236}">
                    <a16:creationId xmlns:a16="http://schemas.microsoft.com/office/drawing/2014/main" id="{147FF9D4-6503-43B6-A68A-4E78E7CED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189" y="3215604"/>
                <a:ext cx="133439" cy="204329"/>
              </a:xfrm>
              <a:custGeom>
                <a:avLst/>
                <a:gdLst>
                  <a:gd name="T0" fmla="*/ 89 w 105"/>
                  <a:gd name="T1" fmla="*/ 131 h 160"/>
                  <a:gd name="T2" fmla="*/ 78 w 105"/>
                  <a:gd name="T3" fmla="*/ 160 h 160"/>
                  <a:gd name="T4" fmla="*/ 33 w 105"/>
                  <a:gd name="T5" fmla="*/ 110 h 160"/>
                  <a:gd name="T6" fmla="*/ 50 w 105"/>
                  <a:gd name="T7" fmla="*/ 3 h 160"/>
                  <a:gd name="T8" fmla="*/ 66 w 105"/>
                  <a:gd name="T9" fmla="*/ 0 h 160"/>
                  <a:gd name="T10" fmla="*/ 101 w 105"/>
                  <a:gd name="T11" fmla="*/ 83 h 160"/>
                  <a:gd name="T12" fmla="*/ 89 w 105"/>
                  <a:gd name="T13" fmla="*/ 131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160">
                    <a:moveTo>
                      <a:pt x="89" y="131"/>
                    </a:moveTo>
                    <a:cubicBezTo>
                      <a:pt x="78" y="160"/>
                      <a:pt x="78" y="160"/>
                      <a:pt x="78" y="160"/>
                    </a:cubicBezTo>
                    <a:cubicBezTo>
                      <a:pt x="78" y="160"/>
                      <a:pt x="45" y="130"/>
                      <a:pt x="33" y="110"/>
                    </a:cubicBezTo>
                    <a:cubicBezTo>
                      <a:pt x="11" y="73"/>
                      <a:pt x="0" y="39"/>
                      <a:pt x="50" y="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101" y="83"/>
                      <a:pt x="101" y="83"/>
                      <a:pt x="101" y="83"/>
                    </a:cubicBezTo>
                    <a:cubicBezTo>
                      <a:pt x="105" y="98"/>
                      <a:pt x="101" y="115"/>
                      <a:pt x="89" y="131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95">
                <a:extLst>
                  <a:ext uri="{FF2B5EF4-FFF2-40B4-BE49-F238E27FC236}">
                    <a16:creationId xmlns:a16="http://schemas.microsoft.com/office/drawing/2014/main" id="{604D1F97-3287-4CCB-ABF7-DD5E10DB5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1709" y="3351823"/>
                <a:ext cx="40310" cy="40310"/>
              </a:xfrm>
              <a:custGeom>
                <a:avLst/>
                <a:gdLst>
                  <a:gd name="T0" fmla="*/ 1 w 32"/>
                  <a:gd name="T1" fmla="*/ 13 h 32"/>
                  <a:gd name="T2" fmla="*/ 19 w 32"/>
                  <a:gd name="T3" fmla="*/ 2 h 32"/>
                  <a:gd name="T4" fmla="*/ 30 w 32"/>
                  <a:gd name="T5" fmla="*/ 19 h 32"/>
                  <a:gd name="T6" fmla="*/ 13 w 32"/>
                  <a:gd name="T7" fmla="*/ 31 h 32"/>
                  <a:gd name="T8" fmla="*/ 1 w 32"/>
                  <a:gd name="T9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2">
                    <a:moveTo>
                      <a:pt x="1" y="13"/>
                    </a:moveTo>
                    <a:cubicBezTo>
                      <a:pt x="3" y="5"/>
                      <a:pt x="11" y="0"/>
                      <a:pt x="19" y="2"/>
                    </a:cubicBezTo>
                    <a:cubicBezTo>
                      <a:pt x="27" y="3"/>
                      <a:pt x="32" y="11"/>
                      <a:pt x="30" y="19"/>
                    </a:cubicBezTo>
                    <a:cubicBezTo>
                      <a:pt x="28" y="27"/>
                      <a:pt x="21" y="32"/>
                      <a:pt x="13" y="31"/>
                    </a:cubicBezTo>
                    <a:cubicBezTo>
                      <a:pt x="5" y="29"/>
                      <a:pt x="0" y="21"/>
                      <a:pt x="1" y="13"/>
                    </a:cubicBezTo>
                    <a:close/>
                  </a:path>
                </a:pathLst>
              </a:custGeom>
              <a:solidFill>
                <a:srgbClr val="F0D0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 96">
                <a:extLst>
                  <a:ext uri="{FF2B5EF4-FFF2-40B4-BE49-F238E27FC236}">
                    <a16:creationId xmlns:a16="http://schemas.microsoft.com/office/drawing/2014/main" id="{9978447B-F03F-4AA6-B6E2-5A92A596F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728" y="3247574"/>
                <a:ext cx="145950" cy="87570"/>
              </a:xfrm>
              <a:custGeom>
                <a:avLst/>
                <a:gdLst>
                  <a:gd name="T0" fmla="*/ 105 w 105"/>
                  <a:gd name="T1" fmla="*/ 46 h 63"/>
                  <a:gd name="T2" fmla="*/ 34 w 105"/>
                  <a:gd name="T3" fmla="*/ 61 h 63"/>
                  <a:gd name="T4" fmla="*/ 22 w 105"/>
                  <a:gd name="T5" fmla="*/ 60 h 63"/>
                  <a:gd name="T6" fmla="*/ 7 w 105"/>
                  <a:gd name="T7" fmla="*/ 63 h 63"/>
                  <a:gd name="T8" fmla="*/ 0 w 105"/>
                  <a:gd name="T9" fmla="*/ 23 h 63"/>
                  <a:gd name="T10" fmla="*/ 13 w 105"/>
                  <a:gd name="T11" fmla="*/ 20 h 63"/>
                  <a:gd name="T12" fmla="*/ 24 w 105"/>
                  <a:gd name="T13" fmla="*/ 14 h 63"/>
                  <a:gd name="T14" fmla="*/ 96 w 105"/>
                  <a:gd name="T15" fmla="*/ 0 h 63"/>
                  <a:gd name="T16" fmla="*/ 105 w 105"/>
                  <a:gd name="T17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63">
                    <a:moveTo>
                      <a:pt x="105" y="46"/>
                    </a:moveTo>
                    <a:lnTo>
                      <a:pt x="34" y="61"/>
                    </a:lnTo>
                    <a:lnTo>
                      <a:pt x="22" y="60"/>
                    </a:lnTo>
                    <a:lnTo>
                      <a:pt x="7" y="63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4" y="14"/>
                    </a:lnTo>
                    <a:lnTo>
                      <a:pt x="96" y="0"/>
                    </a:lnTo>
                    <a:lnTo>
                      <a:pt x="105" y="46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Freeform 97">
                <a:extLst>
                  <a:ext uri="{FF2B5EF4-FFF2-40B4-BE49-F238E27FC236}">
                    <a16:creationId xmlns:a16="http://schemas.microsoft.com/office/drawing/2014/main" id="{D0C23B26-0103-4FBE-9AF1-697ABC3C9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5538" y="3215604"/>
                <a:ext cx="152899" cy="101470"/>
              </a:xfrm>
              <a:custGeom>
                <a:avLst/>
                <a:gdLst>
                  <a:gd name="T0" fmla="*/ 110 w 110"/>
                  <a:gd name="T1" fmla="*/ 60 h 73"/>
                  <a:gd name="T2" fmla="*/ 85 w 110"/>
                  <a:gd name="T3" fmla="*/ 65 h 73"/>
                  <a:gd name="T4" fmla="*/ 9 w 110"/>
                  <a:gd name="T5" fmla="*/ 73 h 73"/>
                  <a:gd name="T6" fmla="*/ 0 w 110"/>
                  <a:gd name="T7" fmla="*/ 26 h 73"/>
                  <a:gd name="T8" fmla="*/ 72 w 110"/>
                  <a:gd name="T9" fmla="*/ 5 h 73"/>
                  <a:gd name="T10" fmla="*/ 97 w 110"/>
                  <a:gd name="T11" fmla="*/ 0 h 73"/>
                  <a:gd name="T12" fmla="*/ 110 w 110"/>
                  <a:gd name="T13" fmla="*/ 6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0" h="73">
                    <a:moveTo>
                      <a:pt x="110" y="60"/>
                    </a:moveTo>
                    <a:lnTo>
                      <a:pt x="85" y="65"/>
                    </a:lnTo>
                    <a:lnTo>
                      <a:pt x="9" y="73"/>
                    </a:lnTo>
                    <a:lnTo>
                      <a:pt x="0" y="26"/>
                    </a:lnTo>
                    <a:lnTo>
                      <a:pt x="72" y="5"/>
                    </a:lnTo>
                    <a:lnTo>
                      <a:pt x="97" y="0"/>
                    </a:lnTo>
                    <a:lnTo>
                      <a:pt x="110" y="60"/>
                    </a:ln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Freeform 98">
                <a:extLst>
                  <a:ext uri="{FF2B5EF4-FFF2-40B4-BE49-F238E27FC236}">
                    <a16:creationId xmlns:a16="http://schemas.microsoft.com/office/drawing/2014/main" id="{655DD5D3-FDA3-4C25-8EF9-71D9DB790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367" y="3399083"/>
                <a:ext cx="186259" cy="465648"/>
              </a:xfrm>
              <a:custGeom>
                <a:avLst/>
                <a:gdLst>
                  <a:gd name="T0" fmla="*/ 70 w 134"/>
                  <a:gd name="T1" fmla="*/ 0 h 335"/>
                  <a:gd name="T2" fmla="*/ 134 w 134"/>
                  <a:gd name="T3" fmla="*/ 272 h 335"/>
                  <a:gd name="T4" fmla="*/ 113 w 134"/>
                  <a:gd name="T5" fmla="*/ 295 h 335"/>
                  <a:gd name="T6" fmla="*/ 33 w 134"/>
                  <a:gd name="T7" fmla="*/ 335 h 335"/>
                  <a:gd name="T8" fmla="*/ 12 w 134"/>
                  <a:gd name="T9" fmla="*/ 193 h 335"/>
                  <a:gd name="T10" fmla="*/ 0 w 134"/>
                  <a:gd name="T11" fmla="*/ 2 h 335"/>
                  <a:gd name="T12" fmla="*/ 70 w 134"/>
                  <a:gd name="T13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4" h="335">
                    <a:moveTo>
                      <a:pt x="70" y="0"/>
                    </a:moveTo>
                    <a:lnTo>
                      <a:pt x="134" y="272"/>
                    </a:lnTo>
                    <a:lnTo>
                      <a:pt x="113" y="295"/>
                    </a:lnTo>
                    <a:lnTo>
                      <a:pt x="33" y="335"/>
                    </a:lnTo>
                    <a:lnTo>
                      <a:pt x="12" y="193"/>
                    </a:lnTo>
                    <a:lnTo>
                      <a:pt x="0" y="2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rgbClr val="F0D0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 99">
                <a:extLst>
                  <a:ext uri="{FF2B5EF4-FFF2-40B4-BE49-F238E27FC236}">
                    <a16:creationId xmlns:a16="http://schemas.microsoft.com/office/drawing/2014/main" id="{2D4153F2-FDA7-47C0-AAAC-32027F550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400" y="3607582"/>
                <a:ext cx="564337" cy="261319"/>
              </a:xfrm>
              <a:custGeom>
                <a:avLst/>
                <a:gdLst>
                  <a:gd name="T0" fmla="*/ 444 w 444"/>
                  <a:gd name="T1" fmla="*/ 182 h 205"/>
                  <a:gd name="T2" fmla="*/ 394 w 444"/>
                  <a:gd name="T3" fmla="*/ 205 h 205"/>
                  <a:gd name="T4" fmla="*/ 121 w 444"/>
                  <a:gd name="T5" fmla="*/ 189 h 205"/>
                  <a:gd name="T6" fmla="*/ 7 w 444"/>
                  <a:gd name="T7" fmla="*/ 94 h 205"/>
                  <a:gd name="T8" fmla="*/ 97 w 444"/>
                  <a:gd name="T9" fmla="*/ 2 h 205"/>
                  <a:gd name="T10" fmla="*/ 368 w 444"/>
                  <a:gd name="T11" fmla="*/ 43 h 205"/>
                  <a:gd name="T12" fmla="*/ 444 w 444"/>
                  <a:gd name="T13" fmla="*/ 182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4" h="205">
                    <a:moveTo>
                      <a:pt x="444" y="182"/>
                    </a:moveTo>
                    <a:cubicBezTo>
                      <a:pt x="394" y="205"/>
                      <a:pt x="394" y="205"/>
                      <a:pt x="394" y="205"/>
                    </a:cubicBezTo>
                    <a:cubicBezTo>
                      <a:pt x="394" y="205"/>
                      <a:pt x="165" y="198"/>
                      <a:pt x="121" y="189"/>
                    </a:cubicBezTo>
                    <a:cubicBezTo>
                      <a:pt x="101" y="185"/>
                      <a:pt x="14" y="141"/>
                      <a:pt x="7" y="94"/>
                    </a:cubicBezTo>
                    <a:cubicBezTo>
                      <a:pt x="0" y="43"/>
                      <a:pt x="43" y="3"/>
                      <a:pt x="97" y="2"/>
                    </a:cubicBezTo>
                    <a:cubicBezTo>
                      <a:pt x="154" y="0"/>
                      <a:pt x="368" y="43"/>
                      <a:pt x="368" y="43"/>
                    </a:cubicBezTo>
                    <a:lnTo>
                      <a:pt x="444" y="182"/>
                    </a:ln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Freeform 100">
                <a:extLst>
                  <a:ext uri="{FF2B5EF4-FFF2-40B4-BE49-F238E27FC236}">
                    <a16:creationId xmlns:a16="http://schemas.microsoft.com/office/drawing/2014/main" id="{59515359-6DEF-4026-A9F2-42520152B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258" y="3233674"/>
                <a:ext cx="169579" cy="168190"/>
              </a:xfrm>
              <a:custGeom>
                <a:avLst/>
                <a:gdLst>
                  <a:gd name="T0" fmla="*/ 53 w 133"/>
                  <a:gd name="T1" fmla="*/ 132 h 132"/>
                  <a:gd name="T2" fmla="*/ 18 w 133"/>
                  <a:gd name="T3" fmla="*/ 91 h 132"/>
                  <a:gd name="T4" fmla="*/ 5 w 133"/>
                  <a:gd name="T5" fmla="*/ 23 h 132"/>
                  <a:gd name="T6" fmla="*/ 24 w 133"/>
                  <a:gd name="T7" fmla="*/ 13 h 132"/>
                  <a:gd name="T8" fmla="*/ 37 w 133"/>
                  <a:gd name="T9" fmla="*/ 6 h 132"/>
                  <a:gd name="T10" fmla="*/ 57 w 133"/>
                  <a:gd name="T11" fmla="*/ 4 h 132"/>
                  <a:gd name="T12" fmla="*/ 79 w 133"/>
                  <a:gd name="T13" fmla="*/ 8 h 132"/>
                  <a:gd name="T14" fmla="*/ 102 w 133"/>
                  <a:gd name="T15" fmla="*/ 55 h 132"/>
                  <a:gd name="T16" fmla="*/ 126 w 133"/>
                  <a:gd name="T17" fmla="*/ 84 h 132"/>
                  <a:gd name="T18" fmla="*/ 130 w 133"/>
                  <a:gd name="T19" fmla="*/ 130 h 132"/>
                  <a:gd name="T20" fmla="*/ 53 w 133"/>
                  <a:gd name="T21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132">
                    <a:moveTo>
                      <a:pt x="53" y="132"/>
                    </a:moveTo>
                    <a:cubicBezTo>
                      <a:pt x="18" y="91"/>
                      <a:pt x="18" y="91"/>
                      <a:pt x="18" y="91"/>
                    </a:cubicBezTo>
                    <a:cubicBezTo>
                      <a:pt x="18" y="91"/>
                      <a:pt x="0" y="30"/>
                      <a:pt x="5" y="23"/>
                    </a:cubicBezTo>
                    <a:cubicBezTo>
                      <a:pt x="13" y="11"/>
                      <a:pt x="18" y="26"/>
                      <a:pt x="24" y="13"/>
                    </a:cubicBezTo>
                    <a:cubicBezTo>
                      <a:pt x="27" y="5"/>
                      <a:pt x="33" y="6"/>
                      <a:pt x="37" y="6"/>
                    </a:cubicBezTo>
                    <a:cubicBezTo>
                      <a:pt x="45" y="6"/>
                      <a:pt x="47" y="8"/>
                      <a:pt x="57" y="4"/>
                    </a:cubicBezTo>
                    <a:cubicBezTo>
                      <a:pt x="65" y="0"/>
                      <a:pt x="72" y="3"/>
                      <a:pt x="79" y="8"/>
                    </a:cubicBezTo>
                    <a:cubicBezTo>
                      <a:pt x="85" y="14"/>
                      <a:pt x="96" y="49"/>
                      <a:pt x="102" y="55"/>
                    </a:cubicBezTo>
                    <a:cubicBezTo>
                      <a:pt x="111" y="65"/>
                      <a:pt x="121" y="73"/>
                      <a:pt x="126" y="84"/>
                    </a:cubicBezTo>
                    <a:cubicBezTo>
                      <a:pt x="133" y="100"/>
                      <a:pt x="130" y="130"/>
                      <a:pt x="130" y="130"/>
                    </a:cubicBezTo>
                    <a:lnTo>
                      <a:pt x="53" y="132"/>
                    </a:lnTo>
                    <a:close/>
                  </a:path>
                </a:pathLst>
              </a:custGeom>
              <a:solidFill>
                <a:srgbClr val="F0D0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86D8820-CBBC-4E88-8534-FF8AA848D274}"/>
                </a:ext>
              </a:extLst>
            </p:cNvPr>
            <p:cNvGrpSpPr/>
            <p:nvPr/>
          </p:nvGrpSpPr>
          <p:grpSpPr>
            <a:xfrm>
              <a:off x="5916649" y="3747982"/>
              <a:ext cx="956315" cy="1915410"/>
              <a:chOff x="7209876" y="3939790"/>
              <a:chExt cx="956315" cy="1915410"/>
            </a:xfrm>
          </p:grpSpPr>
          <p:sp>
            <p:nvSpPr>
              <p:cNvPr id="47" name="Freeform 101">
                <a:extLst>
                  <a:ext uri="{FF2B5EF4-FFF2-40B4-BE49-F238E27FC236}">
                    <a16:creationId xmlns:a16="http://schemas.microsoft.com/office/drawing/2014/main" id="{07C13DD9-D944-41A2-B87D-B2DC5132B8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7524" y="4757106"/>
                <a:ext cx="202939" cy="98690"/>
              </a:xfrm>
              <a:custGeom>
                <a:avLst/>
                <a:gdLst>
                  <a:gd name="T0" fmla="*/ 157 w 159"/>
                  <a:gd name="T1" fmla="*/ 24 h 78"/>
                  <a:gd name="T2" fmla="*/ 114 w 159"/>
                  <a:gd name="T3" fmla="*/ 6 h 78"/>
                  <a:gd name="T4" fmla="*/ 34 w 159"/>
                  <a:gd name="T5" fmla="*/ 8 h 78"/>
                  <a:gd name="T6" fmla="*/ 6 w 159"/>
                  <a:gd name="T7" fmla="*/ 39 h 78"/>
                  <a:gd name="T8" fmla="*/ 0 w 159"/>
                  <a:gd name="T9" fmla="*/ 54 h 78"/>
                  <a:gd name="T10" fmla="*/ 9 w 159"/>
                  <a:gd name="T11" fmla="*/ 56 h 78"/>
                  <a:gd name="T12" fmla="*/ 27 w 159"/>
                  <a:gd name="T13" fmla="*/ 35 h 78"/>
                  <a:gd name="T14" fmla="*/ 2 w 159"/>
                  <a:gd name="T15" fmla="*/ 61 h 78"/>
                  <a:gd name="T16" fmla="*/ 12 w 159"/>
                  <a:gd name="T17" fmla="*/ 65 h 78"/>
                  <a:gd name="T18" fmla="*/ 26 w 159"/>
                  <a:gd name="T19" fmla="*/ 56 h 78"/>
                  <a:gd name="T20" fmla="*/ 44 w 159"/>
                  <a:gd name="T21" fmla="*/ 39 h 78"/>
                  <a:gd name="T22" fmla="*/ 25 w 159"/>
                  <a:gd name="T23" fmla="*/ 76 h 78"/>
                  <a:gd name="T24" fmla="*/ 27 w 159"/>
                  <a:gd name="T25" fmla="*/ 78 h 78"/>
                  <a:gd name="T26" fmla="*/ 36 w 159"/>
                  <a:gd name="T27" fmla="*/ 76 h 78"/>
                  <a:gd name="T28" fmla="*/ 57 w 159"/>
                  <a:gd name="T29" fmla="*/ 51 h 78"/>
                  <a:gd name="T30" fmla="*/ 75 w 159"/>
                  <a:gd name="T31" fmla="*/ 43 h 78"/>
                  <a:gd name="T32" fmla="*/ 74 w 159"/>
                  <a:gd name="T33" fmla="*/ 52 h 78"/>
                  <a:gd name="T34" fmla="*/ 57 w 159"/>
                  <a:gd name="T35" fmla="*/ 55 h 78"/>
                  <a:gd name="T36" fmla="*/ 56 w 159"/>
                  <a:gd name="T37" fmla="*/ 61 h 78"/>
                  <a:gd name="T38" fmla="*/ 70 w 159"/>
                  <a:gd name="T39" fmla="*/ 66 h 78"/>
                  <a:gd name="T40" fmla="*/ 89 w 159"/>
                  <a:gd name="T41" fmla="*/ 66 h 78"/>
                  <a:gd name="T42" fmla="*/ 124 w 159"/>
                  <a:gd name="T43" fmla="*/ 57 h 78"/>
                  <a:gd name="T44" fmla="*/ 157 w 159"/>
                  <a:gd name="T45" fmla="*/ 2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9" h="78">
                    <a:moveTo>
                      <a:pt x="157" y="24"/>
                    </a:moveTo>
                    <a:cubicBezTo>
                      <a:pt x="153" y="5"/>
                      <a:pt x="137" y="7"/>
                      <a:pt x="114" y="6"/>
                    </a:cubicBezTo>
                    <a:cubicBezTo>
                      <a:pt x="92" y="5"/>
                      <a:pt x="54" y="0"/>
                      <a:pt x="34" y="8"/>
                    </a:cubicBezTo>
                    <a:cubicBezTo>
                      <a:pt x="23" y="12"/>
                      <a:pt x="7" y="38"/>
                      <a:pt x="6" y="3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7" y="59"/>
                      <a:pt x="9" y="56"/>
                    </a:cubicBezTo>
                    <a:cubicBezTo>
                      <a:pt x="16" y="41"/>
                      <a:pt x="27" y="35"/>
                      <a:pt x="27" y="35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6" y="65"/>
                      <a:pt x="12" y="65"/>
                    </a:cubicBezTo>
                    <a:cubicBezTo>
                      <a:pt x="17" y="64"/>
                      <a:pt x="22" y="59"/>
                      <a:pt x="26" y="56"/>
                    </a:cubicBezTo>
                    <a:cubicBezTo>
                      <a:pt x="32" y="50"/>
                      <a:pt x="44" y="39"/>
                      <a:pt x="44" y="39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24" y="77"/>
                      <a:pt x="25" y="78"/>
                      <a:pt x="27" y="78"/>
                    </a:cubicBezTo>
                    <a:cubicBezTo>
                      <a:pt x="30" y="78"/>
                      <a:pt x="34" y="78"/>
                      <a:pt x="36" y="76"/>
                    </a:cubicBezTo>
                    <a:cubicBezTo>
                      <a:pt x="39" y="74"/>
                      <a:pt x="53" y="60"/>
                      <a:pt x="57" y="51"/>
                    </a:cubicBezTo>
                    <a:cubicBezTo>
                      <a:pt x="58" y="49"/>
                      <a:pt x="69" y="44"/>
                      <a:pt x="75" y="43"/>
                    </a:cubicBezTo>
                    <a:cubicBezTo>
                      <a:pt x="79" y="43"/>
                      <a:pt x="89" y="51"/>
                      <a:pt x="74" y="52"/>
                    </a:cubicBezTo>
                    <a:cubicBezTo>
                      <a:pt x="69" y="53"/>
                      <a:pt x="62" y="51"/>
                      <a:pt x="57" y="55"/>
                    </a:cubicBezTo>
                    <a:cubicBezTo>
                      <a:pt x="56" y="56"/>
                      <a:pt x="54" y="59"/>
                      <a:pt x="56" y="61"/>
                    </a:cubicBezTo>
                    <a:cubicBezTo>
                      <a:pt x="58" y="62"/>
                      <a:pt x="65" y="65"/>
                      <a:pt x="70" y="66"/>
                    </a:cubicBezTo>
                    <a:cubicBezTo>
                      <a:pt x="78" y="66"/>
                      <a:pt x="86" y="66"/>
                      <a:pt x="89" y="66"/>
                    </a:cubicBezTo>
                    <a:cubicBezTo>
                      <a:pt x="110" y="69"/>
                      <a:pt x="117" y="60"/>
                      <a:pt x="124" y="57"/>
                    </a:cubicBezTo>
                    <a:cubicBezTo>
                      <a:pt x="151" y="47"/>
                      <a:pt x="159" y="35"/>
                      <a:pt x="157" y="24"/>
                    </a:cubicBezTo>
                    <a:close/>
                  </a:path>
                </a:pathLst>
              </a:custGeom>
              <a:solidFill>
                <a:srgbClr val="FFD0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102">
                <a:extLst>
                  <a:ext uri="{FF2B5EF4-FFF2-40B4-BE49-F238E27FC236}">
                    <a16:creationId xmlns:a16="http://schemas.microsoft.com/office/drawing/2014/main" id="{06D739CF-969E-445D-A882-C830B518E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9034" y="4340108"/>
                <a:ext cx="343329" cy="501788"/>
              </a:xfrm>
              <a:custGeom>
                <a:avLst/>
                <a:gdLst>
                  <a:gd name="T0" fmla="*/ 187 w 270"/>
                  <a:gd name="T1" fmla="*/ 58 h 395"/>
                  <a:gd name="T2" fmla="*/ 152 w 270"/>
                  <a:gd name="T3" fmla="*/ 242 h 395"/>
                  <a:gd name="T4" fmla="*/ 35 w 270"/>
                  <a:gd name="T5" fmla="*/ 293 h 395"/>
                  <a:gd name="T6" fmla="*/ 23 w 270"/>
                  <a:gd name="T7" fmla="*/ 312 h 395"/>
                  <a:gd name="T8" fmla="*/ 7 w 270"/>
                  <a:gd name="T9" fmla="*/ 321 h 395"/>
                  <a:gd name="T10" fmla="*/ 26 w 270"/>
                  <a:gd name="T11" fmla="*/ 383 h 395"/>
                  <a:gd name="T12" fmla="*/ 41 w 270"/>
                  <a:gd name="T13" fmla="*/ 379 h 395"/>
                  <a:gd name="T14" fmla="*/ 53 w 270"/>
                  <a:gd name="T15" fmla="*/ 386 h 395"/>
                  <a:gd name="T16" fmla="*/ 247 w 270"/>
                  <a:gd name="T17" fmla="*/ 301 h 395"/>
                  <a:gd name="T18" fmla="*/ 250 w 270"/>
                  <a:gd name="T19" fmla="*/ 282 h 395"/>
                  <a:gd name="T20" fmla="*/ 264 w 270"/>
                  <a:gd name="T21" fmla="*/ 34 h 395"/>
                  <a:gd name="T22" fmla="*/ 234 w 270"/>
                  <a:gd name="T23" fmla="*/ 1 h 395"/>
                  <a:gd name="T24" fmla="*/ 187 w 270"/>
                  <a:gd name="T25" fmla="*/ 58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0" h="395">
                    <a:moveTo>
                      <a:pt x="187" y="58"/>
                    </a:moveTo>
                    <a:cubicBezTo>
                      <a:pt x="176" y="92"/>
                      <a:pt x="152" y="242"/>
                      <a:pt x="152" y="242"/>
                    </a:cubicBezTo>
                    <a:cubicBezTo>
                      <a:pt x="152" y="242"/>
                      <a:pt x="149" y="264"/>
                      <a:pt x="35" y="293"/>
                    </a:cubicBezTo>
                    <a:cubicBezTo>
                      <a:pt x="28" y="295"/>
                      <a:pt x="26" y="305"/>
                      <a:pt x="23" y="312"/>
                    </a:cubicBezTo>
                    <a:cubicBezTo>
                      <a:pt x="23" y="313"/>
                      <a:pt x="10" y="318"/>
                      <a:pt x="7" y="321"/>
                    </a:cubicBezTo>
                    <a:cubicBezTo>
                      <a:pt x="0" y="327"/>
                      <a:pt x="26" y="383"/>
                      <a:pt x="26" y="383"/>
                    </a:cubicBezTo>
                    <a:cubicBezTo>
                      <a:pt x="41" y="379"/>
                      <a:pt x="41" y="379"/>
                      <a:pt x="41" y="379"/>
                    </a:cubicBezTo>
                    <a:cubicBezTo>
                      <a:pt x="41" y="379"/>
                      <a:pt x="46" y="385"/>
                      <a:pt x="53" y="386"/>
                    </a:cubicBezTo>
                    <a:cubicBezTo>
                      <a:pt x="103" y="395"/>
                      <a:pt x="214" y="320"/>
                      <a:pt x="247" y="301"/>
                    </a:cubicBezTo>
                    <a:cubicBezTo>
                      <a:pt x="252" y="297"/>
                      <a:pt x="247" y="294"/>
                      <a:pt x="250" y="282"/>
                    </a:cubicBezTo>
                    <a:cubicBezTo>
                      <a:pt x="270" y="200"/>
                      <a:pt x="250" y="115"/>
                      <a:pt x="264" y="34"/>
                    </a:cubicBezTo>
                    <a:cubicBezTo>
                      <a:pt x="266" y="21"/>
                      <a:pt x="243" y="0"/>
                      <a:pt x="234" y="1"/>
                    </a:cubicBezTo>
                    <a:cubicBezTo>
                      <a:pt x="210" y="6"/>
                      <a:pt x="200" y="21"/>
                      <a:pt x="187" y="58"/>
                    </a:cubicBezTo>
                    <a:close/>
                  </a:path>
                </a:pathLst>
              </a:custGeom>
              <a:solidFill>
                <a:srgbClr val="BC20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03">
                <a:extLst>
                  <a:ext uri="{FF2B5EF4-FFF2-40B4-BE49-F238E27FC236}">
                    <a16:creationId xmlns:a16="http://schemas.microsoft.com/office/drawing/2014/main" id="{8BC1D37E-84A1-4D22-B32E-069CEE576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8843" y="3939790"/>
                <a:ext cx="240469" cy="250199"/>
              </a:xfrm>
              <a:custGeom>
                <a:avLst/>
                <a:gdLst>
                  <a:gd name="T0" fmla="*/ 139 w 189"/>
                  <a:gd name="T1" fmla="*/ 36 h 196"/>
                  <a:gd name="T2" fmla="*/ 172 w 189"/>
                  <a:gd name="T3" fmla="*/ 131 h 196"/>
                  <a:gd name="T4" fmla="*/ 66 w 189"/>
                  <a:gd name="T5" fmla="*/ 181 h 196"/>
                  <a:gd name="T6" fmla="*/ 8 w 189"/>
                  <a:gd name="T7" fmla="*/ 96 h 196"/>
                  <a:gd name="T8" fmla="*/ 139 w 189"/>
                  <a:gd name="T9" fmla="*/ 3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" h="196">
                    <a:moveTo>
                      <a:pt x="139" y="36"/>
                    </a:moveTo>
                    <a:cubicBezTo>
                      <a:pt x="169" y="55"/>
                      <a:pt x="189" y="100"/>
                      <a:pt x="172" y="131"/>
                    </a:cubicBezTo>
                    <a:cubicBezTo>
                      <a:pt x="158" y="157"/>
                      <a:pt x="72" y="180"/>
                      <a:pt x="66" y="181"/>
                    </a:cubicBezTo>
                    <a:cubicBezTo>
                      <a:pt x="7" y="196"/>
                      <a:pt x="0" y="128"/>
                      <a:pt x="8" y="96"/>
                    </a:cubicBezTo>
                    <a:cubicBezTo>
                      <a:pt x="20" y="44"/>
                      <a:pt x="82" y="0"/>
                      <a:pt x="139" y="36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0" name="Picture 104">
                <a:extLst>
                  <a:ext uri="{FF2B5EF4-FFF2-40B4-BE49-F238E27FC236}">
                    <a16:creationId xmlns:a16="http://schemas.microsoft.com/office/drawing/2014/main" id="{D907BE8D-207B-4B10-890B-F2BC2CCC7F2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22862" y="4242809"/>
                <a:ext cx="186259" cy="1487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Freeform 105">
                <a:extLst>
                  <a:ext uri="{FF2B5EF4-FFF2-40B4-BE49-F238E27FC236}">
                    <a16:creationId xmlns:a16="http://schemas.microsoft.com/office/drawing/2014/main" id="{74D4E3E6-F7E8-4DFC-830E-6B91580A8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4522" y="4127439"/>
                <a:ext cx="119539" cy="204329"/>
              </a:xfrm>
              <a:custGeom>
                <a:avLst/>
                <a:gdLst>
                  <a:gd name="T0" fmla="*/ 40 w 94"/>
                  <a:gd name="T1" fmla="*/ 0 h 161"/>
                  <a:gd name="T2" fmla="*/ 2 w 94"/>
                  <a:gd name="T3" fmla="*/ 73 h 161"/>
                  <a:gd name="T4" fmla="*/ 0 w 94"/>
                  <a:gd name="T5" fmla="*/ 77 h 161"/>
                  <a:gd name="T6" fmla="*/ 30 w 94"/>
                  <a:gd name="T7" fmla="*/ 143 h 161"/>
                  <a:gd name="T8" fmla="*/ 62 w 94"/>
                  <a:gd name="T9" fmla="*/ 153 h 161"/>
                  <a:gd name="T10" fmla="*/ 62 w 94"/>
                  <a:gd name="T11" fmla="*/ 153 h 161"/>
                  <a:gd name="T12" fmla="*/ 88 w 94"/>
                  <a:gd name="T13" fmla="*/ 108 h 161"/>
                  <a:gd name="T14" fmla="*/ 44 w 94"/>
                  <a:gd name="T15" fmla="*/ 2 h 161"/>
                  <a:gd name="T16" fmla="*/ 40 w 94"/>
                  <a:gd name="T17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161">
                    <a:moveTo>
                      <a:pt x="40" y="0"/>
                    </a:moveTo>
                    <a:cubicBezTo>
                      <a:pt x="2" y="73"/>
                      <a:pt x="2" y="73"/>
                      <a:pt x="2" y="73"/>
                    </a:cubicBezTo>
                    <a:cubicBezTo>
                      <a:pt x="1" y="74"/>
                      <a:pt x="0" y="75"/>
                      <a:pt x="0" y="77"/>
                    </a:cubicBezTo>
                    <a:cubicBezTo>
                      <a:pt x="30" y="143"/>
                      <a:pt x="30" y="143"/>
                      <a:pt x="30" y="143"/>
                    </a:cubicBezTo>
                    <a:cubicBezTo>
                      <a:pt x="36" y="161"/>
                      <a:pt x="44" y="159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80" y="147"/>
                      <a:pt x="94" y="126"/>
                      <a:pt x="88" y="108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2" y="0"/>
                      <a:pt x="40" y="0"/>
                    </a:cubicBez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06">
                <a:extLst>
                  <a:ext uri="{FF2B5EF4-FFF2-40B4-BE49-F238E27FC236}">
                    <a16:creationId xmlns:a16="http://schemas.microsoft.com/office/drawing/2014/main" id="{BEDC61D6-1BFE-4B42-A21F-05EB6C7A4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2902" y="4084350"/>
                <a:ext cx="101470" cy="308578"/>
              </a:xfrm>
              <a:custGeom>
                <a:avLst/>
                <a:gdLst>
                  <a:gd name="T0" fmla="*/ 0 w 79"/>
                  <a:gd name="T1" fmla="*/ 40 h 243"/>
                  <a:gd name="T2" fmla="*/ 6 w 79"/>
                  <a:gd name="T3" fmla="*/ 0 h 243"/>
                  <a:gd name="T4" fmla="*/ 49 w 79"/>
                  <a:gd name="T5" fmla="*/ 71 h 243"/>
                  <a:gd name="T6" fmla="*/ 56 w 79"/>
                  <a:gd name="T7" fmla="*/ 205 h 243"/>
                  <a:gd name="T8" fmla="*/ 46 w 79"/>
                  <a:gd name="T9" fmla="*/ 231 h 243"/>
                  <a:gd name="T10" fmla="*/ 20 w 79"/>
                  <a:gd name="T11" fmla="*/ 200 h 243"/>
                  <a:gd name="T12" fmla="*/ 22 w 79"/>
                  <a:gd name="T13" fmla="*/ 103 h 243"/>
                  <a:gd name="T14" fmla="*/ 0 w 79"/>
                  <a:gd name="T15" fmla="*/ 4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243">
                    <a:moveTo>
                      <a:pt x="0" y="4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34" y="40"/>
                      <a:pt x="49" y="71"/>
                    </a:cubicBezTo>
                    <a:cubicBezTo>
                      <a:pt x="75" y="121"/>
                      <a:pt x="79" y="163"/>
                      <a:pt x="56" y="205"/>
                    </a:cubicBezTo>
                    <a:cubicBezTo>
                      <a:pt x="35" y="243"/>
                      <a:pt x="47" y="231"/>
                      <a:pt x="46" y="231"/>
                    </a:cubicBezTo>
                    <a:cubicBezTo>
                      <a:pt x="46" y="231"/>
                      <a:pt x="17" y="225"/>
                      <a:pt x="20" y="200"/>
                    </a:cubicBezTo>
                    <a:cubicBezTo>
                      <a:pt x="26" y="135"/>
                      <a:pt x="24" y="124"/>
                      <a:pt x="22" y="103"/>
                    </a:cubicBezTo>
                    <a:cubicBezTo>
                      <a:pt x="19" y="75"/>
                      <a:pt x="0" y="40"/>
                      <a:pt x="0" y="40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107">
                <a:extLst>
                  <a:ext uri="{FF2B5EF4-FFF2-40B4-BE49-F238E27FC236}">
                    <a16:creationId xmlns:a16="http://schemas.microsoft.com/office/drawing/2014/main" id="{D088EDB4-8122-48FC-AAEB-1DE8603236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3712" y="4095469"/>
                <a:ext cx="44480" cy="41700"/>
              </a:xfrm>
              <a:custGeom>
                <a:avLst/>
                <a:gdLst>
                  <a:gd name="T0" fmla="*/ 32 w 34"/>
                  <a:gd name="T1" fmla="*/ 14 h 33"/>
                  <a:gd name="T2" fmla="*/ 19 w 34"/>
                  <a:gd name="T3" fmla="*/ 32 h 33"/>
                  <a:gd name="T4" fmla="*/ 2 w 34"/>
                  <a:gd name="T5" fmla="*/ 19 h 33"/>
                  <a:gd name="T6" fmla="*/ 15 w 34"/>
                  <a:gd name="T7" fmla="*/ 1 h 33"/>
                  <a:gd name="T8" fmla="*/ 32 w 34"/>
                  <a:gd name="T9" fmla="*/ 1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32" y="14"/>
                    </a:moveTo>
                    <a:cubicBezTo>
                      <a:pt x="34" y="23"/>
                      <a:pt x="28" y="31"/>
                      <a:pt x="19" y="32"/>
                    </a:cubicBezTo>
                    <a:cubicBezTo>
                      <a:pt x="11" y="33"/>
                      <a:pt x="3" y="27"/>
                      <a:pt x="2" y="19"/>
                    </a:cubicBezTo>
                    <a:cubicBezTo>
                      <a:pt x="0" y="10"/>
                      <a:pt x="6" y="2"/>
                      <a:pt x="15" y="1"/>
                    </a:cubicBezTo>
                    <a:cubicBezTo>
                      <a:pt x="23" y="0"/>
                      <a:pt x="31" y="6"/>
                      <a:pt x="32" y="14"/>
                    </a:cubicBez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108">
                <a:extLst>
                  <a:ext uri="{FF2B5EF4-FFF2-40B4-BE49-F238E27FC236}">
                    <a16:creationId xmlns:a16="http://schemas.microsoft.com/office/drawing/2014/main" id="{EA945599-DA3C-45D6-AAD2-2CFC2D5CC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3863" y="4020410"/>
                <a:ext cx="195989" cy="250199"/>
              </a:xfrm>
              <a:custGeom>
                <a:avLst/>
                <a:gdLst>
                  <a:gd name="T0" fmla="*/ 14 w 154"/>
                  <a:gd name="T1" fmla="*/ 120 h 197"/>
                  <a:gd name="T2" fmla="*/ 94 w 154"/>
                  <a:gd name="T3" fmla="*/ 187 h 197"/>
                  <a:gd name="T4" fmla="*/ 139 w 154"/>
                  <a:gd name="T5" fmla="*/ 78 h 197"/>
                  <a:gd name="T6" fmla="*/ 52 w 154"/>
                  <a:gd name="T7" fmla="*/ 9 h 197"/>
                  <a:gd name="T8" fmla="*/ 14 w 154"/>
                  <a:gd name="T9" fmla="*/ 12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97">
                    <a:moveTo>
                      <a:pt x="14" y="120"/>
                    </a:moveTo>
                    <a:cubicBezTo>
                      <a:pt x="28" y="172"/>
                      <a:pt x="75" y="197"/>
                      <a:pt x="94" y="187"/>
                    </a:cubicBezTo>
                    <a:cubicBezTo>
                      <a:pt x="134" y="168"/>
                      <a:pt x="154" y="130"/>
                      <a:pt x="139" y="78"/>
                    </a:cubicBezTo>
                    <a:cubicBezTo>
                      <a:pt x="125" y="27"/>
                      <a:pt x="87" y="0"/>
                      <a:pt x="52" y="9"/>
                    </a:cubicBezTo>
                    <a:cubicBezTo>
                      <a:pt x="16" y="19"/>
                      <a:pt x="0" y="69"/>
                      <a:pt x="14" y="120"/>
                    </a:cubicBez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09">
                <a:extLst>
                  <a:ext uri="{FF2B5EF4-FFF2-40B4-BE49-F238E27FC236}">
                    <a16:creationId xmlns:a16="http://schemas.microsoft.com/office/drawing/2014/main" id="{D447DA2A-C1C9-41C6-AA07-662CF21DC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9113" y="3987050"/>
                <a:ext cx="214059" cy="284949"/>
              </a:xfrm>
              <a:custGeom>
                <a:avLst/>
                <a:gdLst>
                  <a:gd name="T0" fmla="*/ 112 w 168"/>
                  <a:gd name="T1" fmla="*/ 10 h 224"/>
                  <a:gd name="T2" fmla="*/ 168 w 168"/>
                  <a:gd name="T3" fmla="*/ 86 h 224"/>
                  <a:gd name="T4" fmla="*/ 158 w 168"/>
                  <a:gd name="T5" fmla="*/ 95 h 224"/>
                  <a:gd name="T6" fmla="*/ 45 w 168"/>
                  <a:gd name="T7" fmla="*/ 70 h 224"/>
                  <a:gd name="T8" fmla="*/ 71 w 168"/>
                  <a:gd name="T9" fmla="*/ 224 h 224"/>
                  <a:gd name="T10" fmla="*/ 20 w 168"/>
                  <a:gd name="T11" fmla="*/ 130 h 224"/>
                  <a:gd name="T12" fmla="*/ 112 w 168"/>
                  <a:gd name="T13" fmla="*/ 1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224">
                    <a:moveTo>
                      <a:pt x="112" y="10"/>
                    </a:moveTo>
                    <a:cubicBezTo>
                      <a:pt x="159" y="18"/>
                      <a:pt x="168" y="83"/>
                      <a:pt x="168" y="86"/>
                    </a:cubicBezTo>
                    <a:cubicBezTo>
                      <a:pt x="167" y="91"/>
                      <a:pt x="160" y="95"/>
                      <a:pt x="158" y="95"/>
                    </a:cubicBezTo>
                    <a:cubicBezTo>
                      <a:pt x="109" y="92"/>
                      <a:pt x="45" y="70"/>
                      <a:pt x="45" y="70"/>
                    </a:cubicBezTo>
                    <a:cubicBezTo>
                      <a:pt x="45" y="70"/>
                      <a:pt x="13" y="117"/>
                      <a:pt x="71" y="224"/>
                    </a:cubicBezTo>
                    <a:cubicBezTo>
                      <a:pt x="71" y="224"/>
                      <a:pt x="36" y="188"/>
                      <a:pt x="20" y="130"/>
                    </a:cubicBezTo>
                    <a:cubicBezTo>
                      <a:pt x="0" y="57"/>
                      <a:pt x="43" y="0"/>
                      <a:pt x="112" y="10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110">
                <a:extLst>
                  <a:ext uri="{FF2B5EF4-FFF2-40B4-BE49-F238E27FC236}">
                    <a16:creationId xmlns:a16="http://schemas.microsoft.com/office/drawing/2014/main" id="{73519E1C-8080-4B08-A787-9182C1181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4784" y="5413182"/>
                <a:ext cx="105639" cy="261319"/>
              </a:xfrm>
              <a:custGeom>
                <a:avLst/>
                <a:gdLst>
                  <a:gd name="T0" fmla="*/ 0 w 83"/>
                  <a:gd name="T1" fmla="*/ 0 h 205"/>
                  <a:gd name="T2" fmla="*/ 1 w 83"/>
                  <a:gd name="T3" fmla="*/ 189 h 205"/>
                  <a:gd name="T4" fmla="*/ 32 w 83"/>
                  <a:gd name="T5" fmla="*/ 205 h 205"/>
                  <a:gd name="T6" fmla="*/ 60 w 83"/>
                  <a:gd name="T7" fmla="*/ 195 h 205"/>
                  <a:gd name="T8" fmla="*/ 65 w 83"/>
                  <a:gd name="T9" fmla="*/ 117 h 205"/>
                  <a:gd name="T10" fmla="*/ 83 w 83"/>
                  <a:gd name="T11" fmla="*/ 7 h 205"/>
                  <a:gd name="T12" fmla="*/ 0 w 83"/>
                  <a:gd name="T1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205">
                    <a:moveTo>
                      <a:pt x="0" y="0"/>
                    </a:moveTo>
                    <a:cubicBezTo>
                      <a:pt x="1" y="189"/>
                      <a:pt x="1" y="189"/>
                      <a:pt x="1" y="189"/>
                    </a:cubicBezTo>
                    <a:cubicBezTo>
                      <a:pt x="32" y="205"/>
                      <a:pt x="32" y="205"/>
                      <a:pt x="32" y="205"/>
                    </a:cubicBezTo>
                    <a:cubicBezTo>
                      <a:pt x="60" y="195"/>
                      <a:pt x="60" y="195"/>
                      <a:pt x="60" y="195"/>
                    </a:cubicBezTo>
                    <a:cubicBezTo>
                      <a:pt x="60" y="195"/>
                      <a:pt x="61" y="148"/>
                      <a:pt x="65" y="117"/>
                    </a:cubicBezTo>
                    <a:cubicBezTo>
                      <a:pt x="70" y="85"/>
                      <a:pt x="83" y="7"/>
                      <a:pt x="83" y="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111">
                <a:extLst>
                  <a:ext uri="{FF2B5EF4-FFF2-40B4-BE49-F238E27FC236}">
                    <a16:creationId xmlns:a16="http://schemas.microsoft.com/office/drawing/2014/main" id="{39F84E4E-53A5-4A2A-9CC5-41C529587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8263" y="5442372"/>
                <a:ext cx="109810" cy="319698"/>
              </a:xfrm>
              <a:custGeom>
                <a:avLst/>
                <a:gdLst>
                  <a:gd name="T0" fmla="*/ 0 w 87"/>
                  <a:gd name="T1" fmla="*/ 0 h 251"/>
                  <a:gd name="T2" fmla="*/ 9 w 87"/>
                  <a:gd name="T3" fmla="*/ 234 h 251"/>
                  <a:gd name="T4" fmla="*/ 63 w 87"/>
                  <a:gd name="T5" fmla="*/ 251 h 251"/>
                  <a:gd name="T6" fmla="*/ 80 w 87"/>
                  <a:gd name="T7" fmla="*/ 116 h 251"/>
                  <a:gd name="T8" fmla="*/ 87 w 87"/>
                  <a:gd name="T9" fmla="*/ 1 h 251"/>
                  <a:gd name="T10" fmla="*/ 0 w 87"/>
                  <a:gd name="T11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251">
                    <a:moveTo>
                      <a:pt x="0" y="0"/>
                    </a:moveTo>
                    <a:cubicBezTo>
                      <a:pt x="9" y="234"/>
                      <a:pt x="9" y="234"/>
                      <a:pt x="9" y="234"/>
                    </a:cubicBezTo>
                    <a:cubicBezTo>
                      <a:pt x="63" y="251"/>
                      <a:pt x="63" y="251"/>
                      <a:pt x="63" y="251"/>
                    </a:cubicBezTo>
                    <a:cubicBezTo>
                      <a:pt x="63" y="251"/>
                      <a:pt x="77" y="148"/>
                      <a:pt x="80" y="116"/>
                    </a:cubicBezTo>
                    <a:cubicBezTo>
                      <a:pt x="82" y="96"/>
                      <a:pt x="87" y="1"/>
                      <a:pt x="87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C8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112">
                <a:extLst>
                  <a:ext uri="{FF2B5EF4-FFF2-40B4-BE49-F238E27FC236}">
                    <a16:creationId xmlns:a16="http://schemas.microsoft.com/office/drawing/2014/main" id="{213B6C54-C042-4690-B0FF-101D7596B7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9764" y="4665366"/>
                <a:ext cx="746426" cy="931295"/>
              </a:xfrm>
              <a:custGeom>
                <a:avLst/>
                <a:gdLst>
                  <a:gd name="T0" fmla="*/ 334 w 587"/>
                  <a:gd name="T1" fmla="*/ 0 h 732"/>
                  <a:gd name="T2" fmla="*/ 564 w 587"/>
                  <a:gd name="T3" fmla="*/ 24 h 732"/>
                  <a:gd name="T4" fmla="*/ 585 w 587"/>
                  <a:gd name="T5" fmla="*/ 209 h 732"/>
                  <a:gd name="T6" fmla="*/ 346 w 587"/>
                  <a:gd name="T7" fmla="*/ 352 h 732"/>
                  <a:gd name="T8" fmla="*/ 296 w 587"/>
                  <a:gd name="T9" fmla="*/ 392 h 732"/>
                  <a:gd name="T10" fmla="*/ 260 w 587"/>
                  <a:gd name="T11" fmla="*/ 718 h 732"/>
                  <a:gd name="T12" fmla="*/ 187 w 587"/>
                  <a:gd name="T13" fmla="*/ 732 h 732"/>
                  <a:gd name="T14" fmla="*/ 158 w 587"/>
                  <a:gd name="T15" fmla="*/ 717 h 732"/>
                  <a:gd name="T16" fmla="*/ 145 w 587"/>
                  <a:gd name="T17" fmla="*/ 445 h 732"/>
                  <a:gd name="T18" fmla="*/ 131 w 587"/>
                  <a:gd name="T19" fmla="*/ 456 h 732"/>
                  <a:gd name="T20" fmla="*/ 113 w 587"/>
                  <a:gd name="T21" fmla="*/ 638 h 732"/>
                  <a:gd name="T22" fmla="*/ 33 w 587"/>
                  <a:gd name="T23" fmla="*/ 642 h 732"/>
                  <a:gd name="T24" fmla="*/ 14 w 587"/>
                  <a:gd name="T25" fmla="*/ 633 h 732"/>
                  <a:gd name="T26" fmla="*/ 2 w 587"/>
                  <a:gd name="T27" fmla="*/ 306 h 732"/>
                  <a:gd name="T28" fmla="*/ 299 w 587"/>
                  <a:gd name="T29" fmla="*/ 98 h 732"/>
                  <a:gd name="T30" fmla="*/ 334 w 587"/>
                  <a:gd name="T31" fmla="*/ 0 h 7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7" h="732">
                    <a:moveTo>
                      <a:pt x="334" y="0"/>
                    </a:moveTo>
                    <a:cubicBezTo>
                      <a:pt x="564" y="24"/>
                      <a:pt x="564" y="24"/>
                      <a:pt x="564" y="24"/>
                    </a:cubicBezTo>
                    <a:cubicBezTo>
                      <a:pt x="564" y="24"/>
                      <a:pt x="582" y="142"/>
                      <a:pt x="585" y="209"/>
                    </a:cubicBezTo>
                    <a:cubicBezTo>
                      <a:pt x="587" y="253"/>
                      <a:pt x="541" y="305"/>
                      <a:pt x="346" y="352"/>
                    </a:cubicBezTo>
                    <a:cubicBezTo>
                      <a:pt x="318" y="358"/>
                      <a:pt x="296" y="377"/>
                      <a:pt x="296" y="392"/>
                    </a:cubicBezTo>
                    <a:cubicBezTo>
                      <a:pt x="297" y="551"/>
                      <a:pt x="260" y="718"/>
                      <a:pt x="260" y="718"/>
                    </a:cubicBezTo>
                    <a:cubicBezTo>
                      <a:pt x="187" y="732"/>
                      <a:pt x="187" y="732"/>
                      <a:pt x="187" y="732"/>
                    </a:cubicBezTo>
                    <a:cubicBezTo>
                      <a:pt x="158" y="717"/>
                      <a:pt x="158" y="717"/>
                      <a:pt x="158" y="717"/>
                    </a:cubicBezTo>
                    <a:cubicBezTo>
                      <a:pt x="158" y="717"/>
                      <a:pt x="157" y="511"/>
                      <a:pt x="145" y="445"/>
                    </a:cubicBezTo>
                    <a:cubicBezTo>
                      <a:pt x="129" y="357"/>
                      <a:pt x="137" y="407"/>
                      <a:pt x="131" y="456"/>
                    </a:cubicBezTo>
                    <a:cubicBezTo>
                      <a:pt x="125" y="507"/>
                      <a:pt x="113" y="638"/>
                      <a:pt x="113" y="638"/>
                    </a:cubicBezTo>
                    <a:cubicBezTo>
                      <a:pt x="33" y="642"/>
                      <a:pt x="33" y="642"/>
                      <a:pt x="33" y="64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33"/>
                      <a:pt x="3" y="390"/>
                      <a:pt x="2" y="306"/>
                    </a:cubicBezTo>
                    <a:cubicBezTo>
                      <a:pt x="0" y="199"/>
                      <a:pt x="299" y="98"/>
                      <a:pt x="299" y="98"/>
                    </a:cubicBezTo>
                    <a:cubicBezTo>
                      <a:pt x="316" y="47"/>
                      <a:pt x="334" y="0"/>
                      <a:pt x="334" y="0"/>
                    </a:cubicBezTo>
                    <a:close/>
                  </a:path>
                </a:pathLst>
              </a:custGeom>
              <a:solidFill>
                <a:srgbClr val="F68D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113">
                <a:extLst>
                  <a:ext uri="{FF2B5EF4-FFF2-40B4-BE49-F238E27FC236}">
                    <a16:creationId xmlns:a16="http://schemas.microsoft.com/office/drawing/2014/main" id="{048E6FB7-C778-4C89-BFB6-7A3C8C7C0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5333" y="4249758"/>
                <a:ext cx="372518" cy="528197"/>
              </a:xfrm>
              <a:custGeom>
                <a:avLst/>
                <a:gdLst>
                  <a:gd name="T0" fmla="*/ 19 w 293"/>
                  <a:gd name="T1" fmla="*/ 99 h 415"/>
                  <a:gd name="T2" fmla="*/ 42 w 293"/>
                  <a:gd name="T3" fmla="*/ 45 h 415"/>
                  <a:gd name="T4" fmla="*/ 53 w 293"/>
                  <a:gd name="T5" fmla="*/ 54 h 415"/>
                  <a:gd name="T6" fmla="*/ 124 w 293"/>
                  <a:gd name="T7" fmla="*/ 0 h 415"/>
                  <a:gd name="T8" fmla="*/ 217 w 293"/>
                  <a:gd name="T9" fmla="*/ 29 h 415"/>
                  <a:gd name="T10" fmla="*/ 275 w 293"/>
                  <a:gd name="T11" fmla="*/ 166 h 415"/>
                  <a:gd name="T12" fmla="*/ 288 w 293"/>
                  <a:gd name="T13" fmla="*/ 324 h 415"/>
                  <a:gd name="T14" fmla="*/ 273 w 293"/>
                  <a:gd name="T15" fmla="*/ 390 h 415"/>
                  <a:gd name="T16" fmla="*/ 34 w 293"/>
                  <a:gd name="T17" fmla="*/ 359 h 415"/>
                  <a:gd name="T18" fmla="*/ 40 w 293"/>
                  <a:gd name="T19" fmla="*/ 241 h 415"/>
                  <a:gd name="T20" fmla="*/ 14 w 293"/>
                  <a:gd name="T21" fmla="*/ 191 h 415"/>
                  <a:gd name="T22" fmla="*/ 19 w 293"/>
                  <a:gd name="T23" fmla="*/ 99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3" h="415">
                    <a:moveTo>
                      <a:pt x="19" y="99"/>
                    </a:moveTo>
                    <a:cubicBezTo>
                      <a:pt x="23" y="84"/>
                      <a:pt x="42" y="45"/>
                      <a:pt x="42" y="45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96" y="15"/>
                      <a:pt x="217" y="29"/>
                    </a:cubicBezTo>
                    <a:cubicBezTo>
                      <a:pt x="269" y="64"/>
                      <a:pt x="268" y="122"/>
                      <a:pt x="275" y="166"/>
                    </a:cubicBezTo>
                    <a:cubicBezTo>
                      <a:pt x="278" y="184"/>
                      <a:pt x="293" y="253"/>
                      <a:pt x="288" y="324"/>
                    </a:cubicBezTo>
                    <a:cubicBezTo>
                      <a:pt x="287" y="344"/>
                      <a:pt x="288" y="382"/>
                      <a:pt x="273" y="390"/>
                    </a:cubicBezTo>
                    <a:cubicBezTo>
                      <a:pt x="220" y="415"/>
                      <a:pt x="51" y="395"/>
                      <a:pt x="34" y="359"/>
                    </a:cubicBezTo>
                    <a:cubicBezTo>
                      <a:pt x="26" y="340"/>
                      <a:pt x="51" y="269"/>
                      <a:pt x="40" y="241"/>
                    </a:cubicBezTo>
                    <a:cubicBezTo>
                      <a:pt x="34" y="227"/>
                      <a:pt x="20" y="204"/>
                      <a:pt x="14" y="191"/>
                    </a:cubicBezTo>
                    <a:cubicBezTo>
                      <a:pt x="0" y="161"/>
                      <a:pt x="15" y="116"/>
                      <a:pt x="19" y="99"/>
                    </a:cubicBezTo>
                    <a:close/>
                  </a:path>
                </a:pathLst>
              </a:custGeom>
              <a:solidFill>
                <a:srgbClr val="BC20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114">
                <a:extLst>
                  <a:ext uri="{FF2B5EF4-FFF2-40B4-BE49-F238E27FC236}">
                    <a16:creationId xmlns:a16="http://schemas.microsoft.com/office/drawing/2014/main" id="{68E79C80-92B0-475A-A91F-1469516A1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6254" y="5728710"/>
                <a:ext cx="170970" cy="126490"/>
              </a:xfrm>
              <a:custGeom>
                <a:avLst/>
                <a:gdLst>
                  <a:gd name="T0" fmla="*/ 0 w 134"/>
                  <a:gd name="T1" fmla="*/ 94 h 99"/>
                  <a:gd name="T2" fmla="*/ 55 w 134"/>
                  <a:gd name="T3" fmla="*/ 98 h 99"/>
                  <a:gd name="T4" fmla="*/ 75 w 134"/>
                  <a:gd name="T5" fmla="*/ 92 h 99"/>
                  <a:gd name="T6" fmla="*/ 108 w 134"/>
                  <a:gd name="T7" fmla="*/ 65 h 99"/>
                  <a:gd name="T8" fmla="*/ 131 w 134"/>
                  <a:gd name="T9" fmla="*/ 56 h 99"/>
                  <a:gd name="T10" fmla="*/ 131 w 134"/>
                  <a:gd name="T11" fmla="*/ 49 h 99"/>
                  <a:gd name="T12" fmla="*/ 130 w 134"/>
                  <a:gd name="T13" fmla="*/ 12 h 99"/>
                  <a:gd name="T14" fmla="*/ 98 w 134"/>
                  <a:gd name="T15" fmla="*/ 8 h 99"/>
                  <a:gd name="T16" fmla="*/ 66 w 134"/>
                  <a:gd name="T17" fmla="*/ 9 h 99"/>
                  <a:gd name="T18" fmla="*/ 57 w 134"/>
                  <a:gd name="T19" fmla="*/ 25 h 99"/>
                  <a:gd name="T20" fmla="*/ 4 w 134"/>
                  <a:gd name="T21" fmla="*/ 74 h 99"/>
                  <a:gd name="T22" fmla="*/ 0 w 134"/>
                  <a:gd name="T23" fmla="*/ 84 h 99"/>
                  <a:gd name="T24" fmla="*/ 0 w 134"/>
                  <a:gd name="T25" fmla="*/ 9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4" h="99">
                    <a:moveTo>
                      <a:pt x="0" y="94"/>
                    </a:moveTo>
                    <a:cubicBezTo>
                      <a:pt x="55" y="98"/>
                      <a:pt x="55" y="98"/>
                      <a:pt x="55" y="98"/>
                    </a:cubicBezTo>
                    <a:cubicBezTo>
                      <a:pt x="62" y="99"/>
                      <a:pt x="69" y="96"/>
                      <a:pt x="75" y="92"/>
                    </a:cubicBezTo>
                    <a:cubicBezTo>
                      <a:pt x="108" y="65"/>
                      <a:pt x="108" y="65"/>
                      <a:pt x="108" y="65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49"/>
                      <a:pt x="131" y="49"/>
                      <a:pt x="131" y="49"/>
                    </a:cubicBezTo>
                    <a:cubicBezTo>
                      <a:pt x="134" y="36"/>
                      <a:pt x="130" y="12"/>
                      <a:pt x="130" y="12"/>
                    </a:cubicBezTo>
                    <a:cubicBezTo>
                      <a:pt x="130" y="12"/>
                      <a:pt x="116" y="23"/>
                      <a:pt x="98" y="8"/>
                    </a:cubicBezTo>
                    <a:cubicBezTo>
                      <a:pt x="87" y="0"/>
                      <a:pt x="77" y="2"/>
                      <a:pt x="66" y="9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2" y="77"/>
                      <a:pt x="0" y="80"/>
                      <a:pt x="0" y="84"/>
                    </a:cubicBez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115">
                <a:extLst>
                  <a:ext uri="{FF2B5EF4-FFF2-40B4-BE49-F238E27FC236}">
                    <a16:creationId xmlns:a16="http://schemas.microsoft.com/office/drawing/2014/main" id="{8069C648-3506-4AE5-BE6D-C17C0185D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7302" y="4298408"/>
                <a:ext cx="37530" cy="59770"/>
              </a:xfrm>
              <a:custGeom>
                <a:avLst/>
                <a:gdLst>
                  <a:gd name="T0" fmla="*/ 0 w 27"/>
                  <a:gd name="T1" fmla="*/ 22 h 43"/>
                  <a:gd name="T2" fmla="*/ 16 w 27"/>
                  <a:gd name="T3" fmla="*/ 0 h 43"/>
                  <a:gd name="T4" fmla="*/ 27 w 27"/>
                  <a:gd name="T5" fmla="*/ 13 h 43"/>
                  <a:gd name="T6" fmla="*/ 11 w 27"/>
                  <a:gd name="T7" fmla="*/ 43 h 43"/>
                  <a:gd name="T8" fmla="*/ 0 w 27"/>
                  <a:gd name="T9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43">
                    <a:moveTo>
                      <a:pt x="0" y="22"/>
                    </a:moveTo>
                    <a:lnTo>
                      <a:pt x="16" y="0"/>
                    </a:lnTo>
                    <a:lnTo>
                      <a:pt x="27" y="13"/>
                    </a:lnTo>
                    <a:lnTo>
                      <a:pt x="11" y="43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 116">
                <a:extLst>
                  <a:ext uri="{FF2B5EF4-FFF2-40B4-BE49-F238E27FC236}">
                    <a16:creationId xmlns:a16="http://schemas.microsoft.com/office/drawing/2014/main" id="{72A30B86-F9AB-42C8-9AD1-6F5010002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442" y="4238638"/>
                <a:ext cx="151510" cy="125099"/>
              </a:xfrm>
              <a:custGeom>
                <a:avLst/>
                <a:gdLst>
                  <a:gd name="T0" fmla="*/ 0 w 119"/>
                  <a:gd name="T1" fmla="*/ 63 h 99"/>
                  <a:gd name="T2" fmla="*/ 17 w 119"/>
                  <a:gd name="T3" fmla="*/ 99 h 99"/>
                  <a:gd name="T4" fmla="*/ 119 w 119"/>
                  <a:gd name="T5" fmla="*/ 14 h 99"/>
                  <a:gd name="T6" fmla="*/ 76 w 119"/>
                  <a:gd name="T7" fmla="*/ 0 h 99"/>
                  <a:gd name="T8" fmla="*/ 0 w 119"/>
                  <a:gd name="T9" fmla="*/ 6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" h="99">
                    <a:moveTo>
                      <a:pt x="0" y="63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44" y="81"/>
                      <a:pt x="119" y="14"/>
                      <a:pt x="119" y="14"/>
                    </a:cubicBezTo>
                    <a:cubicBezTo>
                      <a:pt x="76" y="0"/>
                      <a:pt x="76" y="0"/>
                      <a:pt x="76" y="0"/>
                    </a:cubicBezTo>
                    <a:lnTo>
                      <a:pt x="0" y="63"/>
                    </a:ln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 117">
                <a:extLst>
                  <a:ext uri="{FF2B5EF4-FFF2-40B4-BE49-F238E27FC236}">
                    <a16:creationId xmlns:a16="http://schemas.microsoft.com/office/drawing/2014/main" id="{67319D6E-356D-4E80-9810-B7702176D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9955" y="5631411"/>
                <a:ext cx="221009" cy="107030"/>
              </a:xfrm>
              <a:custGeom>
                <a:avLst/>
                <a:gdLst>
                  <a:gd name="T0" fmla="*/ 172 w 174"/>
                  <a:gd name="T1" fmla="*/ 34 h 84"/>
                  <a:gd name="T2" fmla="*/ 168 w 174"/>
                  <a:gd name="T3" fmla="*/ 15 h 84"/>
                  <a:gd name="T4" fmla="*/ 155 w 174"/>
                  <a:gd name="T5" fmla="*/ 20 h 84"/>
                  <a:gd name="T6" fmla="*/ 122 w 174"/>
                  <a:gd name="T7" fmla="*/ 14 h 84"/>
                  <a:gd name="T8" fmla="*/ 105 w 174"/>
                  <a:gd name="T9" fmla="*/ 0 h 84"/>
                  <a:gd name="T10" fmla="*/ 58 w 174"/>
                  <a:gd name="T11" fmla="*/ 43 h 84"/>
                  <a:gd name="T12" fmla="*/ 49 w 174"/>
                  <a:gd name="T13" fmla="*/ 49 h 84"/>
                  <a:gd name="T14" fmla="*/ 15 w 174"/>
                  <a:gd name="T15" fmla="*/ 63 h 84"/>
                  <a:gd name="T16" fmla="*/ 0 w 174"/>
                  <a:gd name="T17" fmla="*/ 80 h 84"/>
                  <a:gd name="T18" fmla="*/ 3 w 174"/>
                  <a:gd name="T19" fmla="*/ 83 h 84"/>
                  <a:gd name="T20" fmla="*/ 74 w 174"/>
                  <a:gd name="T21" fmla="*/ 84 h 84"/>
                  <a:gd name="T22" fmla="*/ 82 w 174"/>
                  <a:gd name="T23" fmla="*/ 82 h 84"/>
                  <a:gd name="T24" fmla="*/ 121 w 174"/>
                  <a:gd name="T25" fmla="*/ 66 h 84"/>
                  <a:gd name="T26" fmla="*/ 123 w 174"/>
                  <a:gd name="T27" fmla="*/ 75 h 84"/>
                  <a:gd name="T28" fmla="*/ 167 w 174"/>
                  <a:gd name="T29" fmla="*/ 75 h 84"/>
                  <a:gd name="T30" fmla="*/ 170 w 174"/>
                  <a:gd name="T31" fmla="*/ 66 h 84"/>
                  <a:gd name="T32" fmla="*/ 173 w 174"/>
                  <a:gd name="T33" fmla="*/ 56 h 84"/>
                  <a:gd name="T34" fmla="*/ 172 w 174"/>
                  <a:gd name="T35" fmla="*/ 3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4" h="84">
                    <a:moveTo>
                      <a:pt x="172" y="34"/>
                    </a:moveTo>
                    <a:cubicBezTo>
                      <a:pt x="168" y="15"/>
                      <a:pt x="168" y="15"/>
                      <a:pt x="168" y="15"/>
                    </a:cubicBezTo>
                    <a:cubicBezTo>
                      <a:pt x="155" y="20"/>
                      <a:pt x="155" y="20"/>
                      <a:pt x="155" y="20"/>
                    </a:cubicBezTo>
                    <a:cubicBezTo>
                      <a:pt x="144" y="24"/>
                      <a:pt x="131" y="22"/>
                      <a:pt x="122" y="14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5" y="46"/>
                      <a:pt x="52" y="48"/>
                      <a:pt x="49" y="49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8" y="66"/>
                      <a:pt x="2" y="72"/>
                      <a:pt x="0" y="80"/>
                    </a:cubicBezTo>
                    <a:cubicBezTo>
                      <a:pt x="0" y="82"/>
                      <a:pt x="1" y="83"/>
                      <a:pt x="3" y="83"/>
                    </a:cubicBezTo>
                    <a:cubicBezTo>
                      <a:pt x="74" y="84"/>
                      <a:pt x="74" y="84"/>
                      <a:pt x="74" y="84"/>
                    </a:cubicBezTo>
                    <a:cubicBezTo>
                      <a:pt x="77" y="84"/>
                      <a:pt x="80" y="83"/>
                      <a:pt x="82" y="82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67" y="75"/>
                      <a:pt x="167" y="75"/>
                      <a:pt x="167" y="75"/>
                    </a:cubicBezTo>
                    <a:cubicBezTo>
                      <a:pt x="167" y="75"/>
                      <a:pt x="169" y="70"/>
                      <a:pt x="170" y="66"/>
                    </a:cubicBezTo>
                    <a:cubicBezTo>
                      <a:pt x="170" y="63"/>
                      <a:pt x="173" y="56"/>
                      <a:pt x="173" y="56"/>
                    </a:cubicBezTo>
                    <a:cubicBezTo>
                      <a:pt x="174" y="49"/>
                      <a:pt x="174" y="42"/>
                      <a:pt x="172" y="34"/>
                    </a:cubicBezTo>
                    <a:close/>
                  </a:path>
                </a:pathLst>
              </a:custGeom>
              <a:solidFill>
                <a:srgbClr val="00A3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 118">
                <a:extLst>
                  <a:ext uri="{FF2B5EF4-FFF2-40B4-BE49-F238E27FC236}">
                    <a16:creationId xmlns:a16="http://schemas.microsoft.com/office/drawing/2014/main" id="{8F98D44A-744B-49C6-B23E-7AD1B374E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5682" y="4106589"/>
                <a:ext cx="120930" cy="301629"/>
              </a:xfrm>
              <a:custGeom>
                <a:avLst/>
                <a:gdLst>
                  <a:gd name="T0" fmla="*/ 31 w 95"/>
                  <a:gd name="T1" fmla="*/ 27 h 237"/>
                  <a:gd name="T2" fmla="*/ 69 w 95"/>
                  <a:gd name="T3" fmla="*/ 233 h 237"/>
                  <a:gd name="T4" fmla="*/ 0 w 95"/>
                  <a:gd name="T5" fmla="*/ 237 h 237"/>
                  <a:gd name="T6" fmla="*/ 16 w 95"/>
                  <a:gd name="T7" fmla="*/ 62 h 237"/>
                  <a:gd name="T8" fmla="*/ 31 w 95"/>
                  <a:gd name="T9" fmla="*/ 27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237">
                    <a:moveTo>
                      <a:pt x="31" y="27"/>
                    </a:moveTo>
                    <a:cubicBezTo>
                      <a:pt x="95" y="114"/>
                      <a:pt x="69" y="233"/>
                      <a:pt x="69" y="233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0" y="237"/>
                      <a:pt x="34" y="163"/>
                      <a:pt x="16" y="62"/>
                    </a:cubicBezTo>
                    <a:cubicBezTo>
                      <a:pt x="11" y="34"/>
                      <a:pt x="11" y="0"/>
                      <a:pt x="31" y="27"/>
                    </a:cubicBezTo>
                    <a:close/>
                  </a:path>
                </a:pathLst>
              </a:custGeom>
              <a:solidFill>
                <a:srgbClr val="753F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 119">
                <a:extLst>
                  <a:ext uri="{FF2B5EF4-FFF2-40B4-BE49-F238E27FC236}">
                    <a16:creationId xmlns:a16="http://schemas.microsoft.com/office/drawing/2014/main" id="{739ED0A7-2F40-4A25-99D9-36845DA27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9876" y="4705676"/>
                <a:ext cx="371128" cy="318309"/>
              </a:xfrm>
              <a:custGeom>
                <a:avLst/>
                <a:gdLst>
                  <a:gd name="T0" fmla="*/ 267 w 267"/>
                  <a:gd name="T1" fmla="*/ 229 h 229"/>
                  <a:gd name="T2" fmla="*/ 186 w 267"/>
                  <a:gd name="T3" fmla="*/ 43 h 229"/>
                  <a:gd name="T4" fmla="*/ 0 w 267"/>
                  <a:gd name="T5" fmla="*/ 0 h 229"/>
                  <a:gd name="T6" fmla="*/ 90 w 267"/>
                  <a:gd name="T7" fmla="*/ 170 h 229"/>
                  <a:gd name="T8" fmla="*/ 267 w 267"/>
                  <a:gd name="T9" fmla="*/ 229 h 229"/>
                  <a:gd name="T10" fmla="*/ 267 w 267"/>
                  <a:gd name="T11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29">
                    <a:moveTo>
                      <a:pt x="267" y="229"/>
                    </a:moveTo>
                    <a:lnTo>
                      <a:pt x="186" y="43"/>
                    </a:lnTo>
                    <a:lnTo>
                      <a:pt x="0" y="0"/>
                    </a:lnTo>
                    <a:lnTo>
                      <a:pt x="90" y="170"/>
                    </a:lnTo>
                    <a:lnTo>
                      <a:pt x="267" y="229"/>
                    </a:lnTo>
                    <a:lnTo>
                      <a:pt x="267" y="229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Freeform 120">
                <a:extLst>
                  <a:ext uri="{FF2B5EF4-FFF2-40B4-BE49-F238E27FC236}">
                    <a16:creationId xmlns:a16="http://schemas.microsoft.com/office/drawing/2014/main" id="{E9082985-9D25-4098-9051-17FBEC7AC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1774" y="4816875"/>
                <a:ext cx="308578" cy="207109"/>
              </a:xfrm>
              <a:custGeom>
                <a:avLst/>
                <a:gdLst>
                  <a:gd name="T0" fmla="*/ 57 w 222"/>
                  <a:gd name="T1" fmla="*/ 149 h 149"/>
                  <a:gd name="T2" fmla="*/ 222 w 222"/>
                  <a:gd name="T3" fmla="*/ 59 h 149"/>
                  <a:gd name="T4" fmla="*/ 31 w 222"/>
                  <a:gd name="T5" fmla="*/ 0 h 149"/>
                  <a:gd name="T6" fmla="*/ 0 w 222"/>
                  <a:gd name="T7" fmla="*/ 18 h 149"/>
                  <a:gd name="T8" fmla="*/ 57 w 222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149">
                    <a:moveTo>
                      <a:pt x="57" y="149"/>
                    </a:moveTo>
                    <a:lnTo>
                      <a:pt x="222" y="59"/>
                    </a:lnTo>
                    <a:lnTo>
                      <a:pt x="31" y="0"/>
                    </a:lnTo>
                    <a:lnTo>
                      <a:pt x="0" y="18"/>
                    </a:lnTo>
                    <a:lnTo>
                      <a:pt x="57" y="149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21">
                <a:extLst>
                  <a:ext uri="{FF2B5EF4-FFF2-40B4-BE49-F238E27FC236}">
                    <a16:creationId xmlns:a16="http://schemas.microsoft.com/office/drawing/2014/main" id="{FD774ACD-EF3C-4D1C-87E6-91A982051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3164" y="4823826"/>
                <a:ext cx="282169" cy="195989"/>
              </a:xfrm>
              <a:custGeom>
                <a:avLst/>
                <a:gdLst>
                  <a:gd name="T0" fmla="*/ 55 w 203"/>
                  <a:gd name="T1" fmla="*/ 141 h 141"/>
                  <a:gd name="T2" fmla="*/ 203 w 203"/>
                  <a:gd name="T3" fmla="*/ 60 h 141"/>
                  <a:gd name="T4" fmla="*/ 203 w 203"/>
                  <a:gd name="T5" fmla="*/ 54 h 141"/>
                  <a:gd name="T6" fmla="*/ 31 w 203"/>
                  <a:gd name="T7" fmla="*/ 0 h 141"/>
                  <a:gd name="T8" fmla="*/ 0 w 203"/>
                  <a:gd name="T9" fmla="*/ 17 h 141"/>
                  <a:gd name="T10" fmla="*/ 55 w 203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3" h="141">
                    <a:moveTo>
                      <a:pt x="55" y="141"/>
                    </a:moveTo>
                    <a:lnTo>
                      <a:pt x="203" y="60"/>
                    </a:lnTo>
                    <a:lnTo>
                      <a:pt x="203" y="54"/>
                    </a:lnTo>
                    <a:lnTo>
                      <a:pt x="31" y="0"/>
                    </a:lnTo>
                    <a:lnTo>
                      <a:pt x="0" y="17"/>
                    </a:lnTo>
                    <a:lnTo>
                      <a:pt x="55" y="1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122">
                <a:extLst>
                  <a:ext uri="{FF2B5EF4-FFF2-40B4-BE49-F238E27FC236}">
                    <a16:creationId xmlns:a16="http://schemas.microsoft.com/office/drawing/2014/main" id="{17042EFA-5DCE-477B-A869-18D38087A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4403" y="4764055"/>
                <a:ext cx="243249" cy="147339"/>
              </a:xfrm>
              <a:custGeom>
                <a:avLst/>
                <a:gdLst>
                  <a:gd name="T0" fmla="*/ 16 w 191"/>
                  <a:gd name="T1" fmla="*/ 59 h 115"/>
                  <a:gd name="T2" fmla="*/ 37 w 191"/>
                  <a:gd name="T3" fmla="*/ 34 h 115"/>
                  <a:gd name="T4" fmla="*/ 122 w 191"/>
                  <a:gd name="T5" fmla="*/ 17 h 115"/>
                  <a:gd name="T6" fmla="*/ 188 w 191"/>
                  <a:gd name="T7" fmla="*/ 19 h 115"/>
                  <a:gd name="T8" fmla="*/ 150 w 191"/>
                  <a:gd name="T9" fmla="*/ 68 h 115"/>
                  <a:gd name="T10" fmla="*/ 102 w 191"/>
                  <a:gd name="T11" fmla="*/ 81 h 115"/>
                  <a:gd name="T12" fmla="*/ 79 w 191"/>
                  <a:gd name="T13" fmla="*/ 97 h 115"/>
                  <a:gd name="T14" fmla="*/ 71 w 191"/>
                  <a:gd name="T15" fmla="*/ 103 h 115"/>
                  <a:gd name="T16" fmla="*/ 67 w 191"/>
                  <a:gd name="T17" fmla="*/ 102 h 115"/>
                  <a:gd name="T18" fmla="*/ 60 w 191"/>
                  <a:gd name="T19" fmla="*/ 113 h 115"/>
                  <a:gd name="T20" fmla="*/ 48 w 191"/>
                  <a:gd name="T21" fmla="*/ 115 h 115"/>
                  <a:gd name="T22" fmla="*/ 60 w 191"/>
                  <a:gd name="T23" fmla="*/ 67 h 115"/>
                  <a:gd name="T24" fmla="*/ 45 w 191"/>
                  <a:gd name="T25" fmla="*/ 87 h 115"/>
                  <a:gd name="T26" fmla="*/ 35 w 191"/>
                  <a:gd name="T27" fmla="*/ 107 h 115"/>
                  <a:gd name="T28" fmla="*/ 25 w 191"/>
                  <a:gd name="T29" fmla="*/ 108 h 115"/>
                  <a:gd name="T30" fmla="*/ 37 w 191"/>
                  <a:gd name="T31" fmla="*/ 56 h 115"/>
                  <a:gd name="T32" fmla="*/ 11 w 191"/>
                  <a:gd name="T33" fmla="*/ 82 h 115"/>
                  <a:gd name="T34" fmla="*/ 0 w 191"/>
                  <a:gd name="T35" fmla="*/ 81 h 115"/>
                  <a:gd name="T36" fmla="*/ 16 w 191"/>
                  <a:gd name="T37" fmla="*/ 5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1" h="115">
                    <a:moveTo>
                      <a:pt x="16" y="59"/>
                    </a:moveTo>
                    <a:cubicBezTo>
                      <a:pt x="17" y="58"/>
                      <a:pt x="27" y="39"/>
                      <a:pt x="37" y="34"/>
                    </a:cubicBezTo>
                    <a:cubicBezTo>
                      <a:pt x="57" y="24"/>
                      <a:pt x="100" y="18"/>
                      <a:pt x="122" y="17"/>
                    </a:cubicBezTo>
                    <a:cubicBezTo>
                      <a:pt x="144" y="15"/>
                      <a:pt x="182" y="0"/>
                      <a:pt x="188" y="19"/>
                    </a:cubicBezTo>
                    <a:cubicBezTo>
                      <a:pt x="191" y="29"/>
                      <a:pt x="159" y="64"/>
                      <a:pt x="150" y="68"/>
                    </a:cubicBezTo>
                    <a:cubicBezTo>
                      <a:pt x="138" y="75"/>
                      <a:pt x="114" y="75"/>
                      <a:pt x="102" y="81"/>
                    </a:cubicBezTo>
                    <a:cubicBezTo>
                      <a:pt x="95" y="85"/>
                      <a:pt x="85" y="91"/>
                      <a:pt x="79" y="97"/>
                    </a:cubicBezTo>
                    <a:cubicBezTo>
                      <a:pt x="78" y="99"/>
                      <a:pt x="74" y="103"/>
                      <a:pt x="71" y="103"/>
                    </a:cubicBezTo>
                    <a:cubicBezTo>
                      <a:pt x="70" y="103"/>
                      <a:pt x="67" y="102"/>
                      <a:pt x="67" y="102"/>
                    </a:cubicBezTo>
                    <a:cubicBezTo>
                      <a:pt x="67" y="102"/>
                      <a:pt x="62" y="111"/>
                      <a:pt x="60" y="113"/>
                    </a:cubicBezTo>
                    <a:cubicBezTo>
                      <a:pt x="57" y="114"/>
                      <a:pt x="48" y="115"/>
                      <a:pt x="48" y="115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45" y="87"/>
                      <a:pt x="45" y="87"/>
                      <a:pt x="45" y="87"/>
                    </a:cubicBezTo>
                    <a:cubicBezTo>
                      <a:pt x="45" y="87"/>
                      <a:pt x="39" y="103"/>
                      <a:pt x="35" y="107"/>
                    </a:cubicBezTo>
                    <a:cubicBezTo>
                      <a:pt x="30" y="111"/>
                      <a:pt x="25" y="108"/>
                      <a:pt x="25" y="108"/>
                    </a:cubicBezTo>
                    <a:cubicBezTo>
                      <a:pt x="37" y="56"/>
                      <a:pt x="37" y="56"/>
                      <a:pt x="37" y="56"/>
                    </a:cubicBezTo>
                    <a:cubicBezTo>
                      <a:pt x="37" y="56"/>
                      <a:pt x="19" y="80"/>
                      <a:pt x="11" y="82"/>
                    </a:cubicBezTo>
                    <a:cubicBezTo>
                      <a:pt x="7" y="83"/>
                      <a:pt x="0" y="81"/>
                      <a:pt x="0" y="81"/>
                    </a:cubicBezTo>
                    <a:lnTo>
                      <a:pt x="16" y="59"/>
                    </a:lnTo>
                    <a:close/>
                  </a:path>
                </a:pathLst>
              </a:custGeom>
              <a:solidFill>
                <a:srgbClr val="FFD0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123">
                <a:extLst>
                  <a:ext uri="{FF2B5EF4-FFF2-40B4-BE49-F238E27FC236}">
                    <a16:creationId xmlns:a16="http://schemas.microsoft.com/office/drawing/2014/main" id="{8723052F-3829-446C-AA58-C2D4E05FF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2862" y="4295628"/>
                <a:ext cx="343329" cy="555997"/>
              </a:xfrm>
              <a:custGeom>
                <a:avLst/>
                <a:gdLst>
                  <a:gd name="T0" fmla="*/ 143 w 270"/>
                  <a:gd name="T1" fmla="*/ 83 h 437"/>
                  <a:gd name="T2" fmla="*/ 166 w 270"/>
                  <a:gd name="T3" fmla="*/ 259 h 437"/>
                  <a:gd name="T4" fmla="*/ 31 w 270"/>
                  <a:gd name="T5" fmla="*/ 345 h 437"/>
                  <a:gd name="T6" fmla="*/ 19 w 270"/>
                  <a:gd name="T7" fmla="*/ 361 h 437"/>
                  <a:gd name="T8" fmla="*/ 4 w 270"/>
                  <a:gd name="T9" fmla="*/ 374 h 437"/>
                  <a:gd name="T10" fmla="*/ 43 w 270"/>
                  <a:gd name="T11" fmla="*/ 437 h 437"/>
                  <a:gd name="T12" fmla="*/ 54 w 270"/>
                  <a:gd name="T13" fmla="*/ 431 h 437"/>
                  <a:gd name="T14" fmla="*/ 70 w 270"/>
                  <a:gd name="T15" fmla="*/ 432 h 437"/>
                  <a:gd name="T16" fmla="*/ 268 w 270"/>
                  <a:gd name="T17" fmla="*/ 302 h 437"/>
                  <a:gd name="T18" fmla="*/ 270 w 270"/>
                  <a:gd name="T19" fmla="*/ 287 h 437"/>
                  <a:gd name="T20" fmla="*/ 247 w 270"/>
                  <a:gd name="T21" fmla="*/ 84 h 437"/>
                  <a:gd name="T22" fmla="*/ 195 w 270"/>
                  <a:gd name="T23" fmla="*/ 0 h 437"/>
                  <a:gd name="T24" fmla="*/ 143 w 270"/>
                  <a:gd name="T25" fmla="*/ 83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0" h="437">
                    <a:moveTo>
                      <a:pt x="143" y="83"/>
                    </a:moveTo>
                    <a:cubicBezTo>
                      <a:pt x="138" y="133"/>
                      <a:pt x="166" y="259"/>
                      <a:pt x="166" y="259"/>
                    </a:cubicBezTo>
                    <a:cubicBezTo>
                      <a:pt x="166" y="259"/>
                      <a:pt x="126" y="307"/>
                      <a:pt x="31" y="345"/>
                    </a:cubicBezTo>
                    <a:cubicBezTo>
                      <a:pt x="24" y="348"/>
                      <a:pt x="22" y="355"/>
                      <a:pt x="19" y="361"/>
                    </a:cubicBezTo>
                    <a:cubicBezTo>
                      <a:pt x="19" y="362"/>
                      <a:pt x="5" y="370"/>
                      <a:pt x="4" y="374"/>
                    </a:cubicBezTo>
                    <a:cubicBezTo>
                      <a:pt x="0" y="390"/>
                      <a:pt x="27" y="435"/>
                      <a:pt x="43" y="437"/>
                    </a:cubicBezTo>
                    <a:cubicBezTo>
                      <a:pt x="45" y="437"/>
                      <a:pt x="54" y="431"/>
                      <a:pt x="54" y="431"/>
                    </a:cubicBezTo>
                    <a:cubicBezTo>
                      <a:pt x="54" y="431"/>
                      <a:pt x="64" y="435"/>
                      <a:pt x="70" y="432"/>
                    </a:cubicBezTo>
                    <a:cubicBezTo>
                      <a:pt x="159" y="394"/>
                      <a:pt x="239" y="357"/>
                      <a:pt x="268" y="302"/>
                    </a:cubicBezTo>
                    <a:cubicBezTo>
                      <a:pt x="270" y="299"/>
                      <a:pt x="270" y="291"/>
                      <a:pt x="270" y="287"/>
                    </a:cubicBezTo>
                    <a:cubicBezTo>
                      <a:pt x="267" y="235"/>
                      <a:pt x="257" y="142"/>
                      <a:pt x="247" y="84"/>
                    </a:cubicBezTo>
                    <a:cubicBezTo>
                      <a:pt x="244" y="63"/>
                      <a:pt x="226" y="0"/>
                      <a:pt x="195" y="0"/>
                    </a:cubicBezTo>
                    <a:cubicBezTo>
                      <a:pt x="159" y="0"/>
                      <a:pt x="147" y="43"/>
                      <a:pt x="143" y="83"/>
                    </a:cubicBezTo>
                    <a:close/>
                  </a:path>
                </a:pathLst>
              </a:custGeom>
              <a:solidFill>
                <a:srgbClr val="BC20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124">
                <a:extLst>
                  <a:ext uri="{FF2B5EF4-FFF2-40B4-BE49-F238E27FC236}">
                    <a16:creationId xmlns:a16="http://schemas.microsoft.com/office/drawing/2014/main" id="{AAC09378-B4BF-4942-9807-708611A10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4601" y="4295628"/>
                <a:ext cx="148730" cy="415608"/>
              </a:xfrm>
              <a:custGeom>
                <a:avLst/>
                <a:gdLst>
                  <a:gd name="T0" fmla="*/ 2 w 117"/>
                  <a:gd name="T1" fmla="*/ 327 h 327"/>
                  <a:gd name="T2" fmla="*/ 0 w 117"/>
                  <a:gd name="T3" fmla="*/ 324 h 327"/>
                  <a:gd name="T4" fmla="*/ 93 w 117"/>
                  <a:gd name="T5" fmla="*/ 257 h 327"/>
                  <a:gd name="T6" fmla="*/ 69 w 117"/>
                  <a:gd name="T7" fmla="*/ 82 h 327"/>
                  <a:gd name="T8" fmla="*/ 115 w 117"/>
                  <a:gd name="T9" fmla="*/ 0 h 327"/>
                  <a:gd name="T10" fmla="*/ 117 w 117"/>
                  <a:gd name="T11" fmla="*/ 4 h 327"/>
                  <a:gd name="T12" fmla="*/ 73 w 117"/>
                  <a:gd name="T13" fmla="*/ 83 h 327"/>
                  <a:gd name="T14" fmla="*/ 97 w 117"/>
                  <a:gd name="T15" fmla="*/ 257 h 327"/>
                  <a:gd name="T16" fmla="*/ 98 w 117"/>
                  <a:gd name="T17" fmla="*/ 258 h 327"/>
                  <a:gd name="T18" fmla="*/ 97 w 117"/>
                  <a:gd name="T19" fmla="*/ 259 h 327"/>
                  <a:gd name="T20" fmla="*/ 2 w 117"/>
                  <a:gd name="T21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7" h="327">
                    <a:moveTo>
                      <a:pt x="2" y="327"/>
                    </a:moveTo>
                    <a:cubicBezTo>
                      <a:pt x="0" y="324"/>
                      <a:pt x="0" y="324"/>
                      <a:pt x="0" y="324"/>
                    </a:cubicBezTo>
                    <a:cubicBezTo>
                      <a:pt x="56" y="292"/>
                      <a:pt x="88" y="262"/>
                      <a:pt x="93" y="257"/>
                    </a:cubicBezTo>
                    <a:cubicBezTo>
                      <a:pt x="90" y="244"/>
                      <a:pt x="66" y="131"/>
                      <a:pt x="69" y="82"/>
                    </a:cubicBezTo>
                    <a:cubicBezTo>
                      <a:pt x="72" y="42"/>
                      <a:pt x="81" y="13"/>
                      <a:pt x="115" y="0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85" y="16"/>
                      <a:pt x="76" y="44"/>
                      <a:pt x="73" y="83"/>
                    </a:cubicBezTo>
                    <a:cubicBezTo>
                      <a:pt x="69" y="132"/>
                      <a:pt x="97" y="256"/>
                      <a:pt x="97" y="257"/>
                    </a:cubicBezTo>
                    <a:cubicBezTo>
                      <a:pt x="98" y="258"/>
                      <a:pt x="98" y="258"/>
                      <a:pt x="98" y="258"/>
                    </a:cubicBezTo>
                    <a:cubicBezTo>
                      <a:pt x="97" y="259"/>
                      <a:pt x="97" y="259"/>
                      <a:pt x="97" y="259"/>
                    </a:cubicBezTo>
                    <a:cubicBezTo>
                      <a:pt x="97" y="259"/>
                      <a:pt x="63" y="293"/>
                      <a:pt x="2" y="327"/>
                    </a:cubicBezTo>
                    <a:close/>
                  </a:path>
                </a:pathLst>
              </a:custGeom>
              <a:solidFill>
                <a:srgbClr val="A015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E93E1B6-4E1D-4ADF-8CF4-9E014147CD65}"/>
                </a:ext>
              </a:extLst>
            </p:cNvPr>
            <p:cNvGrpSpPr/>
            <p:nvPr/>
          </p:nvGrpSpPr>
          <p:grpSpPr>
            <a:xfrm>
              <a:off x="4610001" y="2337788"/>
              <a:ext cx="2922588" cy="1184275"/>
              <a:chOff x="6177913" y="2606103"/>
              <a:chExt cx="2922588" cy="1184275"/>
            </a:xfrm>
          </p:grpSpPr>
          <p:sp>
            <p:nvSpPr>
              <p:cNvPr id="43" name="Freeform 23">
                <a:extLst>
                  <a:ext uri="{FF2B5EF4-FFF2-40B4-BE49-F238E27FC236}">
                    <a16:creationId xmlns:a16="http://schemas.microsoft.com/office/drawing/2014/main" id="{A7BDDAC7-F035-433F-8C54-5CB17220B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7913" y="3531615"/>
                <a:ext cx="787400" cy="258763"/>
              </a:xfrm>
              <a:custGeom>
                <a:avLst/>
                <a:gdLst>
                  <a:gd name="T0" fmla="*/ 488 w 496"/>
                  <a:gd name="T1" fmla="*/ 0 h 163"/>
                  <a:gd name="T2" fmla="*/ 496 w 496"/>
                  <a:gd name="T3" fmla="*/ 28 h 163"/>
                  <a:gd name="T4" fmla="*/ 192 w 496"/>
                  <a:gd name="T5" fmla="*/ 113 h 163"/>
                  <a:gd name="T6" fmla="*/ 2 w 496"/>
                  <a:gd name="T7" fmla="*/ 163 h 163"/>
                  <a:gd name="T8" fmla="*/ 0 w 496"/>
                  <a:gd name="T9" fmla="*/ 156 h 163"/>
                  <a:gd name="T10" fmla="*/ 186 w 496"/>
                  <a:gd name="T11" fmla="*/ 94 h 163"/>
                  <a:gd name="T12" fmla="*/ 488 w 496"/>
                  <a:gd name="T13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6" h="163">
                    <a:moveTo>
                      <a:pt x="488" y="0"/>
                    </a:moveTo>
                    <a:lnTo>
                      <a:pt x="496" y="28"/>
                    </a:lnTo>
                    <a:lnTo>
                      <a:pt x="192" y="113"/>
                    </a:lnTo>
                    <a:lnTo>
                      <a:pt x="2" y="163"/>
                    </a:lnTo>
                    <a:lnTo>
                      <a:pt x="0" y="156"/>
                    </a:lnTo>
                    <a:lnTo>
                      <a:pt x="186" y="94"/>
                    </a:lnTo>
                    <a:lnTo>
                      <a:pt x="488" y="0"/>
                    </a:lnTo>
                    <a:close/>
                  </a:path>
                </a:pathLst>
              </a:custGeom>
              <a:solidFill>
                <a:srgbClr val="0091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24">
                <a:extLst>
                  <a:ext uri="{FF2B5EF4-FFF2-40B4-BE49-F238E27FC236}">
                    <a16:creationId xmlns:a16="http://schemas.microsoft.com/office/drawing/2014/main" id="{D4C47DE4-A5C0-4862-9B9E-93583F59D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2776" y="2942364"/>
                <a:ext cx="847725" cy="377825"/>
              </a:xfrm>
              <a:custGeom>
                <a:avLst/>
                <a:gdLst>
                  <a:gd name="T0" fmla="*/ 459 w 583"/>
                  <a:gd name="T1" fmla="*/ 0 h 260"/>
                  <a:gd name="T2" fmla="*/ 404 w 583"/>
                  <a:gd name="T3" fmla="*/ 243 h 260"/>
                  <a:gd name="T4" fmla="*/ 0 w 583"/>
                  <a:gd name="T5" fmla="*/ 136 h 260"/>
                  <a:gd name="T6" fmla="*/ 459 w 583"/>
                  <a:gd name="T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3" h="260">
                    <a:moveTo>
                      <a:pt x="459" y="0"/>
                    </a:moveTo>
                    <a:cubicBezTo>
                      <a:pt x="583" y="80"/>
                      <a:pt x="569" y="230"/>
                      <a:pt x="404" y="243"/>
                    </a:cubicBezTo>
                    <a:cubicBezTo>
                      <a:pt x="187" y="260"/>
                      <a:pt x="0" y="136"/>
                      <a:pt x="0" y="136"/>
                    </a:cubicBezTo>
                    <a:lnTo>
                      <a:pt x="459" y="0"/>
                    </a:lnTo>
                    <a:close/>
                  </a:path>
                </a:pathLst>
              </a:custGeom>
              <a:solidFill>
                <a:srgbClr val="F68D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25">
                <a:extLst>
                  <a:ext uri="{FF2B5EF4-FFF2-40B4-BE49-F238E27FC236}">
                    <a16:creationId xmlns:a16="http://schemas.microsoft.com/office/drawing/2014/main" id="{9EE81F56-70BF-4D13-AAD9-5D051B56B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9601" y="2606103"/>
                <a:ext cx="754063" cy="565149"/>
              </a:xfrm>
              <a:custGeom>
                <a:avLst/>
                <a:gdLst>
                  <a:gd name="T0" fmla="*/ 459 w 520"/>
                  <a:gd name="T1" fmla="*/ 253 h 389"/>
                  <a:gd name="T2" fmla="*/ 281 w 520"/>
                  <a:gd name="T3" fmla="*/ 79 h 389"/>
                  <a:gd name="T4" fmla="*/ 0 w 520"/>
                  <a:gd name="T5" fmla="*/ 389 h 389"/>
                  <a:gd name="T6" fmla="*/ 459 w 520"/>
                  <a:gd name="T7" fmla="*/ 253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0" h="389">
                    <a:moveTo>
                      <a:pt x="459" y="253"/>
                    </a:moveTo>
                    <a:cubicBezTo>
                      <a:pt x="520" y="119"/>
                      <a:pt x="427" y="0"/>
                      <a:pt x="281" y="79"/>
                    </a:cubicBezTo>
                    <a:cubicBezTo>
                      <a:pt x="90" y="183"/>
                      <a:pt x="0" y="389"/>
                      <a:pt x="0" y="389"/>
                    </a:cubicBezTo>
                    <a:lnTo>
                      <a:pt x="459" y="253"/>
                    </a:lnTo>
                    <a:close/>
                  </a:path>
                </a:pathLst>
              </a:custGeom>
              <a:solidFill>
                <a:srgbClr val="F68D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id="{F7D0EB9C-F493-4304-B962-026E22258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192" y="2945318"/>
                <a:ext cx="2144713" cy="736600"/>
              </a:xfrm>
              <a:custGeom>
                <a:avLst/>
                <a:gdLst>
                  <a:gd name="T0" fmla="*/ 1471 w 1476"/>
                  <a:gd name="T1" fmla="*/ 0 h 507"/>
                  <a:gd name="T2" fmla="*/ 1476 w 1476"/>
                  <a:gd name="T3" fmla="*/ 20 h 507"/>
                  <a:gd name="T4" fmla="*/ 1078 w 1476"/>
                  <a:gd name="T5" fmla="*/ 144 h 507"/>
                  <a:gd name="T6" fmla="*/ 248 w 1476"/>
                  <a:gd name="T7" fmla="*/ 440 h 507"/>
                  <a:gd name="T8" fmla="*/ 251 w 1476"/>
                  <a:gd name="T9" fmla="*/ 449 h 507"/>
                  <a:gd name="T10" fmla="*/ 115 w 1476"/>
                  <a:gd name="T11" fmla="*/ 493 h 507"/>
                  <a:gd name="T12" fmla="*/ 13 w 1476"/>
                  <a:gd name="T13" fmla="*/ 437 h 507"/>
                  <a:gd name="T14" fmla="*/ 13 w 1476"/>
                  <a:gd name="T15" fmla="*/ 437 h 507"/>
                  <a:gd name="T16" fmla="*/ 69 w 1476"/>
                  <a:gd name="T17" fmla="*/ 335 h 507"/>
                  <a:gd name="T18" fmla="*/ 206 w 1476"/>
                  <a:gd name="T19" fmla="*/ 298 h 507"/>
                  <a:gd name="T20" fmla="*/ 208 w 1476"/>
                  <a:gd name="T21" fmla="*/ 306 h 507"/>
                  <a:gd name="T22" fmla="*/ 1069 w 1476"/>
                  <a:gd name="T23" fmla="*/ 113 h 507"/>
                  <a:gd name="T24" fmla="*/ 1471 w 1476"/>
                  <a:gd name="T25" fmla="*/ 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76" h="507">
                    <a:moveTo>
                      <a:pt x="1471" y="0"/>
                    </a:moveTo>
                    <a:cubicBezTo>
                      <a:pt x="1476" y="20"/>
                      <a:pt x="1476" y="20"/>
                      <a:pt x="1476" y="20"/>
                    </a:cubicBezTo>
                    <a:cubicBezTo>
                      <a:pt x="1078" y="144"/>
                      <a:pt x="1078" y="144"/>
                      <a:pt x="1078" y="144"/>
                    </a:cubicBezTo>
                    <a:cubicBezTo>
                      <a:pt x="248" y="440"/>
                      <a:pt x="248" y="440"/>
                      <a:pt x="248" y="440"/>
                    </a:cubicBezTo>
                    <a:cubicBezTo>
                      <a:pt x="251" y="449"/>
                      <a:pt x="251" y="449"/>
                      <a:pt x="251" y="449"/>
                    </a:cubicBezTo>
                    <a:cubicBezTo>
                      <a:pt x="199" y="466"/>
                      <a:pt x="153" y="481"/>
                      <a:pt x="115" y="493"/>
                    </a:cubicBezTo>
                    <a:cubicBezTo>
                      <a:pt x="72" y="507"/>
                      <a:pt x="26" y="481"/>
                      <a:pt x="13" y="437"/>
                    </a:cubicBezTo>
                    <a:cubicBezTo>
                      <a:pt x="13" y="437"/>
                      <a:pt x="13" y="437"/>
                      <a:pt x="13" y="437"/>
                    </a:cubicBezTo>
                    <a:cubicBezTo>
                      <a:pt x="0" y="394"/>
                      <a:pt x="25" y="347"/>
                      <a:pt x="69" y="335"/>
                    </a:cubicBezTo>
                    <a:cubicBezTo>
                      <a:pt x="106" y="325"/>
                      <a:pt x="155" y="312"/>
                      <a:pt x="206" y="298"/>
                    </a:cubicBezTo>
                    <a:cubicBezTo>
                      <a:pt x="208" y="306"/>
                      <a:pt x="208" y="306"/>
                      <a:pt x="208" y="306"/>
                    </a:cubicBezTo>
                    <a:cubicBezTo>
                      <a:pt x="1069" y="113"/>
                      <a:pt x="1069" y="113"/>
                      <a:pt x="1069" y="113"/>
                    </a:cubicBezTo>
                    <a:lnTo>
                      <a:pt x="1471" y="0"/>
                    </a:lnTo>
                    <a:close/>
                  </a:path>
                </a:pathLst>
              </a:custGeom>
              <a:solidFill>
                <a:srgbClr val="470A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B9B70AD4-245A-4556-8E8B-A1B365222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580" y="1494804"/>
              <a:ext cx="1587372" cy="600735"/>
            </a:xfrm>
            <a:custGeom>
              <a:avLst/>
              <a:gdLst>
                <a:gd name="T0" fmla="*/ 1415 w 1745"/>
                <a:gd name="T1" fmla="*/ 441 h 660"/>
                <a:gd name="T2" fmla="*/ 1059 w 1745"/>
                <a:gd name="T3" fmla="*/ 239 h 660"/>
                <a:gd name="T4" fmla="*/ 413 w 1745"/>
                <a:gd name="T5" fmla="*/ 436 h 660"/>
                <a:gd name="T6" fmla="*/ 0 w 1745"/>
                <a:gd name="T7" fmla="*/ 660 h 660"/>
                <a:gd name="T8" fmla="*/ 1745 w 1745"/>
                <a:gd name="T9" fmla="*/ 660 h 660"/>
                <a:gd name="T10" fmla="*/ 1415 w 1745"/>
                <a:gd name="T11" fmla="*/ 441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5" h="660">
                  <a:moveTo>
                    <a:pt x="1415" y="441"/>
                  </a:moveTo>
                  <a:cubicBezTo>
                    <a:pt x="1389" y="292"/>
                    <a:pt x="1279" y="200"/>
                    <a:pt x="1059" y="239"/>
                  </a:cubicBezTo>
                  <a:cubicBezTo>
                    <a:pt x="801" y="0"/>
                    <a:pt x="422" y="171"/>
                    <a:pt x="413" y="436"/>
                  </a:cubicBezTo>
                  <a:cubicBezTo>
                    <a:pt x="101" y="402"/>
                    <a:pt x="0" y="534"/>
                    <a:pt x="0" y="660"/>
                  </a:cubicBezTo>
                  <a:cubicBezTo>
                    <a:pt x="204" y="660"/>
                    <a:pt x="1545" y="660"/>
                    <a:pt x="1745" y="660"/>
                  </a:cubicBezTo>
                  <a:cubicBezTo>
                    <a:pt x="1734" y="509"/>
                    <a:pt x="1577" y="428"/>
                    <a:pt x="1415" y="4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185DF6-E62F-66C5-31B7-E6C13DD120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2337" y="4779701"/>
            <a:ext cx="3551186" cy="290185"/>
          </a:xfrm>
        </p:spPr>
        <p:txBody>
          <a:bodyPr/>
          <a:lstStyle/>
          <a:p>
            <a:r>
              <a:rPr lang="el-GR" dirty="0"/>
              <a:t>20 Μαΐου, 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6AA1EC-8977-7BB7-4DA2-1E9F085D6B85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9" r="44477"/>
          <a:stretch/>
        </p:blipFill>
        <p:spPr bwMode="auto">
          <a:xfrm>
            <a:off x="9173916" y="5396009"/>
            <a:ext cx="1909988" cy="59559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C372EF-ABEC-C997-705E-3D7B773DAC4A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 t="9709" r="75336" b="12379"/>
          <a:stretch/>
        </p:blipFill>
        <p:spPr bwMode="auto">
          <a:xfrm>
            <a:off x="7642337" y="5389620"/>
            <a:ext cx="1531579" cy="6019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2" descr="Υπουργείο Τουρισμού - Ministry of Tourism">
            <a:extLst>
              <a:ext uri="{FF2B5EF4-FFF2-40B4-BE49-F238E27FC236}">
                <a16:creationId xmlns:a16="http://schemas.microsoft.com/office/drawing/2014/main" id="{A1C88EFA-DE81-275D-3065-322F1870B4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4" b="33238"/>
          <a:stretch/>
        </p:blipFill>
        <p:spPr bwMode="auto">
          <a:xfrm>
            <a:off x="941180" y="5418875"/>
            <a:ext cx="1077308" cy="60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2488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5" hidden="1">
            <a:extLst>
              <a:ext uri="{FF2B5EF4-FFF2-40B4-BE49-F238E27FC236}">
                <a16:creationId xmlns:a16="http://schemas.microsoft.com/office/drawing/2014/main" id="{E0A9DE27-5CEC-47D2-924E-5875EDE65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432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1746" name="Object 5" hidden="1">
                        <a:extLst>
                          <a:ext uri="{FF2B5EF4-FFF2-40B4-BE49-F238E27FC236}">
                            <a16:creationId xmlns:a16="http://schemas.microsoft.com/office/drawing/2014/main" id="{E0A9DE27-5CEC-47D2-924E-5875EDE652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60B45AB1-51F9-4E0B-AAFE-78DF6541CB2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98400" y="431800"/>
            <a:ext cx="10195200" cy="53340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l-GR" altLang="el-GR" sz="4000" dirty="0">
                <a:latin typeface="KPMG Greek Bold" panose="020B0803030202040204" pitchFamily="34" charset="0"/>
              </a:rPr>
              <a:t>Ταυτότητα έργου</a:t>
            </a:r>
          </a:p>
        </p:txBody>
      </p:sp>
      <p:grpSp>
        <p:nvGrpSpPr>
          <p:cNvPr id="24" name="Group 1023">
            <a:extLst>
              <a:ext uri="{FF2B5EF4-FFF2-40B4-BE49-F238E27FC236}">
                <a16:creationId xmlns:a16="http://schemas.microsoft.com/office/drawing/2014/main" id="{16DEDEEB-4C05-C005-DE4E-03602B4584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98400" y="5036499"/>
            <a:ext cx="1123305" cy="661873"/>
            <a:chOff x="2764" y="1528"/>
            <a:chExt cx="2152" cy="1268"/>
          </a:xfrm>
        </p:grpSpPr>
        <p:sp>
          <p:nvSpPr>
            <p:cNvPr id="25" name="Freeform 1024">
              <a:extLst>
                <a:ext uri="{FF2B5EF4-FFF2-40B4-BE49-F238E27FC236}">
                  <a16:creationId xmlns:a16="http://schemas.microsoft.com/office/drawing/2014/main" id="{95B8AE0C-DD54-B187-879C-4C9E8C8A1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2179"/>
              <a:ext cx="2017" cy="541"/>
            </a:xfrm>
            <a:custGeom>
              <a:avLst/>
              <a:gdLst>
                <a:gd name="T0" fmla="*/ 2017 w 2017"/>
                <a:gd name="T1" fmla="*/ 302 h 541"/>
                <a:gd name="T2" fmla="*/ 426 w 2017"/>
                <a:gd name="T3" fmla="*/ 541 h 541"/>
                <a:gd name="T4" fmla="*/ 0 w 2017"/>
                <a:gd name="T5" fmla="*/ 240 h 541"/>
                <a:gd name="T6" fmla="*/ 1590 w 2017"/>
                <a:gd name="T7" fmla="*/ 0 h 541"/>
                <a:gd name="T8" fmla="*/ 2017 w 2017"/>
                <a:gd name="T9" fmla="*/ 30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1">
                  <a:moveTo>
                    <a:pt x="2017" y="302"/>
                  </a:moveTo>
                  <a:lnTo>
                    <a:pt x="426" y="541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2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26" name="Freeform 1025">
              <a:extLst>
                <a:ext uri="{FF2B5EF4-FFF2-40B4-BE49-F238E27FC236}">
                  <a16:creationId xmlns:a16="http://schemas.microsoft.com/office/drawing/2014/main" id="{B11099A7-4F61-ADD7-E766-C81B6D202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2295"/>
              <a:ext cx="830" cy="309"/>
            </a:xfrm>
            <a:custGeom>
              <a:avLst/>
              <a:gdLst>
                <a:gd name="T0" fmla="*/ 308 w 350"/>
                <a:gd name="T1" fmla="*/ 45 h 130"/>
                <a:gd name="T2" fmla="*/ 252 w 350"/>
                <a:gd name="T3" fmla="*/ 119 h 130"/>
                <a:gd name="T4" fmla="*/ 43 w 350"/>
                <a:gd name="T5" fmla="*/ 85 h 130"/>
                <a:gd name="T6" fmla="*/ 99 w 350"/>
                <a:gd name="T7" fmla="*/ 11 h 130"/>
                <a:gd name="T8" fmla="*/ 308 w 350"/>
                <a:gd name="T9" fmla="*/ 4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0">
                  <a:moveTo>
                    <a:pt x="308" y="45"/>
                  </a:moveTo>
                  <a:cubicBezTo>
                    <a:pt x="350" y="75"/>
                    <a:pt x="325" y="108"/>
                    <a:pt x="252" y="119"/>
                  </a:cubicBezTo>
                  <a:cubicBezTo>
                    <a:pt x="179" y="130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27" name="Freeform 1026">
              <a:extLst>
                <a:ext uri="{FF2B5EF4-FFF2-40B4-BE49-F238E27FC236}">
                  <a16:creationId xmlns:a16="http://schemas.microsoft.com/office/drawing/2014/main" id="{964D78CD-9C0B-DDCC-C0F4-4E49C0DAF9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2155"/>
              <a:ext cx="2152" cy="589"/>
            </a:xfrm>
            <a:custGeom>
              <a:avLst/>
              <a:gdLst>
                <a:gd name="T0" fmla="*/ 0 w 908"/>
                <a:gd name="T1" fmla="*/ 106 h 248"/>
                <a:gd name="T2" fmla="*/ 201 w 908"/>
                <a:gd name="T3" fmla="*/ 248 h 248"/>
                <a:gd name="T4" fmla="*/ 908 w 908"/>
                <a:gd name="T5" fmla="*/ 142 h 248"/>
                <a:gd name="T6" fmla="*/ 707 w 908"/>
                <a:gd name="T7" fmla="*/ 0 h 248"/>
                <a:gd name="T8" fmla="*/ 0 w 908"/>
                <a:gd name="T9" fmla="*/ 106 h 248"/>
                <a:gd name="T10" fmla="*/ 833 w 908"/>
                <a:gd name="T11" fmla="*/ 104 h 248"/>
                <a:gd name="T12" fmla="*/ 799 w 908"/>
                <a:gd name="T13" fmla="*/ 149 h 248"/>
                <a:gd name="T14" fmla="*/ 289 w 908"/>
                <a:gd name="T15" fmla="*/ 226 h 248"/>
                <a:gd name="T16" fmla="*/ 162 w 908"/>
                <a:gd name="T17" fmla="*/ 205 h 248"/>
                <a:gd name="T18" fmla="*/ 76 w 908"/>
                <a:gd name="T19" fmla="*/ 144 h 248"/>
                <a:gd name="T20" fmla="*/ 109 w 908"/>
                <a:gd name="T21" fmla="*/ 99 h 248"/>
                <a:gd name="T22" fmla="*/ 619 w 908"/>
                <a:gd name="T23" fmla="*/ 22 h 248"/>
                <a:gd name="T24" fmla="*/ 746 w 908"/>
                <a:gd name="T25" fmla="*/ 43 h 248"/>
                <a:gd name="T26" fmla="*/ 833 w 908"/>
                <a:gd name="T27" fmla="*/ 10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8">
                  <a:moveTo>
                    <a:pt x="0" y="106"/>
                  </a:moveTo>
                  <a:cubicBezTo>
                    <a:pt x="201" y="248"/>
                    <a:pt x="201" y="248"/>
                    <a:pt x="201" y="248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4"/>
                  </a:moveTo>
                  <a:cubicBezTo>
                    <a:pt x="797" y="113"/>
                    <a:pt x="783" y="131"/>
                    <a:pt x="799" y="149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0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4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28" name="Freeform 1027">
              <a:extLst>
                <a:ext uri="{FF2B5EF4-FFF2-40B4-BE49-F238E27FC236}">
                  <a16:creationId xmlns:a16="http://schemas.microsoft.com/office/drawing/2014/main" id="{E30F1F4E-CA23-7B49-BE0E-4FA7C1AE4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483"/>
              <a:ext cx="277" cy="104"/>
            </a:xfrm>
            <a:custGeom>
              <a:avLst/>
              <a:gdLst>
                <a:gd name="T0" fmla="*/ 102 w 117"/>
                <a:gd name="T1" fmla="*/ 15 h 44"/>
                <a:gd name="T2" fmla="*/ 84 w 117"/>
                <a:gd name="T3" fmla="*/ 40 h 44"/>
                <a:gd name="T4" fmla="*/ 14 w 117"/>
                <a:gd name="T5" fmla="*/ 28 h 44"/>
                <a:gd name="T6" fmla="*/ 33 w 117"/>
                <a:gd name="T7" fmla="*/ 4 h 44"/>
                <a:gd name="T8" fmla="*/ 102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4"/>
                    <a:pt x="28" y="38"/>
                    <a:pt x="14" y="28"/>
                  </a:cubicBezTo>
                  <a:cubicBezTo>
                    <a:pt x="0" y="18"/>
                    <a:pt x="8" y="7"/>
                    <a:pt x="33" y="4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29" name="Freeform 1028">
              <a:extLst>
                <a:ext uri="{FF2B5EF4-FFF2-40B4-BE49-F238E27FC236}">
                  <a16:creationId xmlns:a16="http://schemas.microsoft.com/office/drawing/2014/main" id="{BC93B964-78C1-FEAF-E03B-6FCD04E6E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2314"/>
              <a:ext cx="278" cy="102"/>
            </a:xfrm>
            <a:custGeom>
              <a:avLst/>
              <a:gdLst>
                <a:gd name="T0" fmla="*/ 103 w 117"/>
                <a:gd name="T1" fmla="*/ 15 h 43"/>
                <a:gd name="T2" fmla="*/ 84 w 117"/>
                <a:gd name="T3" fmla="*/ 40 h 43"/>
                <a:gd name="T4" fmla="*/ 14 w 117"/>
                <a:gd name="T5" fmla="*/ 28 h 43"/>
                <a:gd name="T6" fmla="*/ 33 w 117"/>
                <a:gd name="T7" fmla="*/ 3 h 43"/>
                <a:gd name="T8" fmla="*/ 103 w 117"/>
                <a:gd name="T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3"/>
                    <a:pt x="28" y="38"/>
                    <a:pt x="14" y="28"/>
                  </a:cubicBezTo>
                  <a:cubicBezTo>
                    <a:pt x="0" y="18"/>
                    <a:pt x="8" y="7"/>
                    <a:pt x="33" y="3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0" name="Freeform 1029">
              <a:extLst>
                <a:ext uri="{FF2B5EF4-FFF2-40B4-BE49-F238E27FC236}">
                  <a16:creationId xmlns:a16="http://schemas.microsoft.com/office/drawing/2014/main" id="{126C1517-4087-AD9F-655F-207E05D9C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407"/>
              <a:ext cx="476" cy="389"/>
            </a:xfrm>
            <a:custGeom>
              <a:avLst/>
              <a:gdLst>
                <a:gd name="T0" fmla="*/ 0 w 476"/>
                <a:gd name="T1" fmla="*/ 52 h 389"/>
                <a:gd name="T2" fmla="*/ 476 w 476"/>
                <a:gd name="T3" fmla="*/ 389 h 389"/>
                <a:gd name="T4" fmla="*/ 476 w 476"/>
                <a:gd name="T5" fmla="*/ 337 h 389"/>
                <a:gd name="T6" fmla="*/ 0 w 476"/>
                <a:gd name="T7" fmla="*/ 0 h 389"/>
                <a:gd name="T8" fmla="*/ 0 w 476"/>
                <a:gd name="T9" fmla="*/ 52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9">
                  <a:moveTo>
                    <a:pt x="0" y="52"/>
                  </a:moveTo>
                  <a:lnTo>
                    <a:pt x="476" y="389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" name="Freeform 1030">
              <a:extLst>
                <a:ext uri="{FF2B5EF4-FFF2-40B4-BE49-F238E27FC236}">
                  <a16:creationId xmlns:a16="http://schemas.microsoft.com/office/drawing/2014/main" id="{E1AB3007-207F-B4EE-D211-BBB8632FC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492"/>
              <a:ext cx="1676" cy="304"/>
            </a:xfrm>
            <a:custGeom>
              <a:avLst/>
              <a:gdLst>
                <a:gd name="T0" fmla="*/ 1676 w 1676"/>
                <a:gd name="T1" fmla="*/ 53 h 304"/>
                <a:gd name="T2" fmla="*/ 0 w 1676"/>
                <a:gd name="T3" fmla="*/ 304 h 304"/>
                <a:gd name="T4" fmla="*/ 0 w 1676"/>
                <a:gd name="T5" fmla="*/ 252 h 304"/>
                <a:gd name="T6" fmla="*/ 1676 w 1676"/>
                <a:gd name="T7" fmla="*/ 0 h 304"/>
                <a:gd name="T8" fmla="*/ 1676 w 1676"/>
                <a:gd name="T9" fmla="*/ 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3"/>
                  </a:moveTo>
                  <a:lnTo>
                    <a:pt x="0" y="304"/>
                  </a:lnTo>
                  <a:lnTo>
                    <a:pt x="0" y="252"/>
                  </a:lnTo>
                  <a:lnTo>
                    <a:pt x="1676" y="0"/>
                  </a:lnTo>
                  <a:lnTo>
                    <a:pt x="1676" y="53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" name="Freeform 1031">
              <a:extLst>
                <a:ext uri="{FF2B5EF4-FFF2-40B4-BE49-F238E27FC236}">
                  <a16:creationId xmlns:a16="http://schemas.microsoft.com/office/drawing/2014/main" id="{0C08FD52-A0EC-C8A3-D5A4-E1CFE51D4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2089"/>
              <a:ext cx="2017" cy="541"/>
            </a:xfrm>
            <a:custGeom>
              <a:avLst/>
              <a:gdLst>
                <a:gd name="T0" fmla="*/ 2017 w 2017"/>
                <a:gd name="T1" fmla="*/ 301 h 541"/>
                <a:gd name="T2" fmla="*/ 426 w 2017"/>
                <a:gd name="T3" fmla="*/ 541 h 541"/>
                <a:gd name="T4" fmla="*/ 0 w 2017"/>
                <a:gd name="T5" fmla="*/ 240 h 541"/>
                <a:gd name="T6" fmla="*/ 1590 w 2017"/>
                <a:gd name="T7" fmla="*/ 0 h 541"/>
                <a:gd name="T8" fmla="*/ 2017 w 2017"/>
                <a:gd name="T9" fmla="*/ 30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1">
                  <a:moveTo>
                    <a:pt x="2017" y="301"/>
                  </a:moveTo>
                  <a:lnTo>
                    <a:pt x="426" y="541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1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6" name="Freeform 1032">
              <a:extLst>
                <a:ext uri="{FF2B5EF4-FFF2-40B4-BE49-F238E27FC236}">
                  <a16:creationId xmlns:a16="http://schemas.microsoft.com/office/drawing/2014/main" id="{EC6C86F3-F6BC-5775-EC15-3459A7061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2205"/>
              <a:ext cx="830" cy="311"/>
            </a:xfrm>
            <a:custGeom>
              <a:avLst/>
              <a:gdLst>
                <a:gd name="T0" fmla="*/ 308 w 350"/>
                <a:gd name="T1" fmla="*/ 45 h 131"/>
                <a:gd name="T2" fmla="*/ 252 w 350"/>
                <a:gd name="T3" fmla="*/ 120 h 131"/>
                <a:gd name="T4" fmla="*/ 43 w 350"/>
                <a:gd name="T5" fmla="*/ 85 h 131"/>
                <a:gd name="T6" fmla="*/ 99 w 350"/>
                <a:gd name="T7" fmla="*/ 11 h 131"/>
                <a:gd name="T8" fmla="*/ 308 w 350"/>
                <a:gd name="T9" fmla="*/ 4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1">
                  <a:moveTo>
                    <a:pt x="308" y="45"/>
                  </a:moveTo>
                  <a:cubicBezTo>
                    <a:pt x="350" y="75"/>
                    <a:pt x="325" y="109"/>
                    <a:pt x="252" y="120"/>
                  </a:cubicBezTo>
                  <a:cubicBezTo>
                    <a:pt x="179" y="131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7" name="Freeform 1033">
              <a:extLst>
                <a:ext uri="{FF2B5EF4-FFF2-40B4-BE49-F238E27FC236}">
                  <a16:creationId xmlns:a16="http://schemas.microsoft.com/office/drawing/2014/main" id="{216CAF6E-05EB-578C-001F-0BAD2019E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2065"/>
              <a:ext cx="2152" cy="591"/>
            </a:xfrm>
            <a:custGeom>
              <a:avLst/>
              <a:gdLst>
                <a:gd name="T0" fmla="*/ 0 w 908"/>
                <a:gd name="T1" fmla="*/ 106 h 249"/>
                <a:gd name="T2" fmla="*/ 201 w 908"/>
                <a:gd name="T3" fmla="*/ 249 h 249"/>
                <a:gd name="T4" fmla="*/ 908 w 908"/>
                <a:gd name="T5" fmla="*/ 142 h 249"/>
                <a:gd name="T6" fmla="*/ 707 w 908"/>
                <a:gd name="T7" fmla="*/ 0 h 249"/>
                <a:gd name="T8" fmla="*/ 0 w 908"/>
                <a:gd name="T9" fmla="*/ 106 h 249"/>
                <a:gd name="T10" fmla="*/ 833 w 908"/>
                <a:gd name="T11" fmla="*/ 105 h 249"/>
                <a:gd name="T12" fmla="*/ 799 w 908"/>
                <a:gd name="T13" fmla="*/ 150 h 249"/>
                <a:gd name="T14" fmla="*/ 289 w 908"/>
                <a:gd name="T15" fmla="*/ 226 h 249"/>
                <a:gd name="T16" fmla="*/ 162 w 908"/>
                <a:gd name="T17" fmla="*/ 205 h 249"/>
                <a:gd name="T18" fmla="*/ 76 w 908"/>
                <a:gd name="T19" fmla="*/ 144 h 249"/>
                <a:gd name="T20" fmla="*/ 109 w 908"/>
                <a:gd name="T21" fmla="*/ 99 h 249"/>
                <a:gd name="T22" fmla="*/ 619 w 908"/>
                <a:gd name="T23" fmla="*/ 22 h 249"/>
                <a:gd name="T24" fmla="*/ 746 w 908"/>
                <a:gd name="T25" fmla="*/ 43 h 249"/>
                <a:gd name="T26" fmla="*/ 833 w 908"/>
                <a:gd name="T27" fmla="*/ 1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9">
                  <a:moveTo>
                    <a:pt x="0" y="106"/>
                  </a:moveTo>
                  <a:cubicBezTo>
                    <a:pt x="201" y="249"/>
                    <a:pt x="201" y="249"/>
                    <a:pt x="201" y="249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5"/>
                  </a:moveTo>
                  <a:cubicBezTo>
                    <a:pt x="797" y="114"/>
                    <a:pt x="783" y="132"/>
                    <a:pt x="799" y="150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1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5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8" name="Freeform 1034">
              <a:extLst>
                <a:ext uri="{FF2B5EF4-FFF2-40B4-BE49-F238E27FC236}">
                  <a16:creationId xmlns:a16="http://schemas.microsoft.com/office/drawing/2014/main" id="{FE132C8B-7827-8F44-57EA-7E9B3D2BF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393"/>
              <a:ext cx="277" cy="104"/>
            </a:xfrm>
            <a:custGeom>
              <a:avLst/>
              <a:gdLst>
                <a:gd name="T0" fmla="*/ 102 w 117"/>
                <a:gd name="T1" fmla="*/ 15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2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9" name="Freeform 1035">
              <a:extLst>
                <a:ext uri="{FF2B5EF4-FFF2-40B4-BE49-F238E27FC236}">
                  <a16:creationId xmlns:a16="http://schemas.microsoft.com/office/drawing/2014/main" id="{5B146B1E-7166-9DBF-EDEF-DB833AE67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2224"/>
              <a:ext cx="278" cy="105"/>
            </a:xfrm>
            <a:custGeom>
              <a:avLst/>
              <a:gdLst>
                <a:gd name="T0" fmla="*/ 103 w 117"/>
                <a:gd name="T1" fmla="*/ 15 h 44"/>
                <a:gd name="T2" fmla="*/ 84 w 117"/>
                <a:gd name="T3" fmla="*/ 40 h 44"/>
                <a:gd name="T4" fmla="*/ 14 w 117"/>
                <a:gd name="T5" fmla="*/ 28 h 44"/>
                <a:gd name="T6" fmla="*/ 33 w 117"/>
                <a:gd name="T7" fmla="*/ 4 h 44"/>
                <a:gd name="T8" fmla="*/ 103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4"/>
                    <a:pt x="28" y="38"/>
                    <a:pt x="14" y="28"/>
                  </a:cubicBezTo>
                  <a:cubicBezTo>
                    <a:pt x="0" y="18"/>
                    <a:pt x="8" y="7"/>
                    <a:pt x="33" y="4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0" name="Freeform 1036">
              <a:extLst>
                <a:ext uri="{FF2B5EF4-FFF2-40B4-BE49-F238E27FC236}">
                  <a16:creationId xmlns:a16="http://schemas.microsoft.com/office/drawing/2014/main" id="{882368BB-F616-CEF3-747E-57C8C1025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317"/>
              <a:ext cx="476" cy="389"/>
            </a:xfrm>
            <a:custGeom>
              <a:avLst/>
              <a:gdLst>
                <a:gd name="T0" fmla="*/ 0 w 476"/>
                <a:gd name="T1" fmla="*/ 52 h 389"/>
                <a:gd name="T2" fmla="*/ 476 w 476"/>
                <a:gd name="T3" fmla="*/ 389 h 389"/>
                <a:gd name="T4" fmla="*/ 476 w 476"/>
                <a:gd name="T5" fmla="*/ 339 h 389"/>
                <a:gd name="T6" fmla="*/ 0 w 476"/>
                <a:gd name="T7" fmla="*/ 0 h 389"/>
                <a:gd name="T8" fmla="*/ 0 w 476"/>
                <a:gd name="T9" fmla="*/ 52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9">
                  <a:moveTo>
                    <a:pt x="0" y="52"/>
                  </a:moveTo>
                  <a:lnTo>
                    <a:pt x="476" y="389"/>
                  </a:lnTo>
                  <a:lnTo>
                    <a:pt x="476" y="339"/>
                  </a:lnTo>
                  <a:lnTo>
                    <a:pt x="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1" name="Freeform 1037">
              <a:extLst>
                <a:ext uri="{FF2B5EF4-FFF2-40B4-BE49-F238E27FC236}">
                  <a16:creationId xmlns:a16="http://schemas.microsoft.com/office/drawing/2014/main" id="{8A892471-66A2-4949-A7E8-2717FA16D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402"/>
              <a:ext cx="1676" cy="304"/>
            </a:xfrm>
            <a:custGeom>
              <a:avLst/>
              <a:gdLst>
                <a:gd name="T0" fmla="*/ 1676 w 1676"/>
                <a:gd name="T1" fmla="*/ 55 h 304"/>
                <a:gd name="T2" fmla="*/ 0 w 1676"/>
                <a:gd name="T3" fmla="*/ 304 h 304"/>
                <a:gd name="T4" fmla="*/ 0 w 1676"/>
                <a:gd name="T5" fmla="*/ 254 h 304"/>
                <a:gd name="T6" fmla="*/ 1676 w 1676"/>
                <a:gd name="T7" fmla="*/ 0 h 304"/>
                <a:gd name="T8" fmla="*/ 1676 w 1676"/>
                <a:gd name="T9" fmla="*/ 55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5"/>
                  </a:moveTo>
                  <a:lnTo>
                    <a:pt x="0" y="304"/>
                  </a:lnTo>
                  <a:lnTo>
                    <a:pt x="0" y="254"/>
                  </a:lnTo>
                  <a:lnTo>
                    <a:pt x="1676" y="0"/>
                  </a:lnTo>
                  <a:lnTo>
                    <a:pt x="1676" y="55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2" name="Freeform 1038">
              <a:extLst>
                <a:ext uri="{FF2B5EF4-FFF2-40B4-BE49-F238E27FC236}">
                  <a16:creationId xmlns:a16="http://schemas.microsoft.com/office/drawing/2014/main" id="{0870401E-180A-5543-9D34-769C8DBD0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2001"/>
              <a:ext cx="2017" cy="541"/>
            </a:xfrm>
            <a:custGeom>
              <a:avLst/>
              <a:gdLst>
                <a:gd name="T0" fmla="*/ 2017 w 2017"/>
                <a:gd name="T1" fmla="*/ 301 h 541"/>
                <a:gd name="T2" fmla="*/ 426 w 2017"/>
                <a:gd name="T3" fmla="*/ 541 h 541"/>
                <a:gd name="T4" fmla="*/ 0 w 2017"/>
                <a:gd name="T5" fmla="*/ 240 h 541"/>
                <a:gd name="T6" fmla="*/ 1590 w 2017"/>
                <a:gd name="T7" fmla="*/ 0 h 541"/>
                <a:gd name="T8" fmla="*/ 2017 w 2017"/>
                <a:gd name="T9" fmla="*/ 30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1">
                  <a:moveTo>
                    <a:pt x="2017" y="301"/>
                  </a:moveTo>
                  <a:lnTo>
                    <a:pt x="426" y="541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1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3" name="Freeform 1039">
              <a:extLst>
                <a:ext uri="{FF2B5EF4-FFF2-40B4-BE49-F238E27FC236}">
                  <a16:creationId xmlns:a16="http://schemas.microsoft.com/office/drawing/2014/main" id="{8B83777B-6260-E5D7-86B2-E1EA60312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2115"/>
              <a:ext cx="830" cy="311"/>
            </a:xfrm>
            <a:custGeom>
              <a:avLst/>
              <a:gdLst>
                <a:gd name="T0" fmla="*/ 308 w 350"/>
                <a:gd name="T1" fmla="*/ 46 h 131"/>
                <a:gd name="T2" fmla="*/ 252 w 350"/>
                <a:gd name="T3" fmla="*/ 120 h 131"/>
                <a:gd name="T4" fmla="*/ 43 w 350"/>
                <a:gd name="T5" fmla="*/ 86 h 131"/>
                <a:gd name="T6" fmla="*/ 99 w 350"/>
                <a:gd name="T7" fmla="*/ 11 h 131"/>
                <a:gd name="T8" fmla="*/ 308 w 350"/>
                <a:gd name="T9" fmla="*/ 4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1">
                  <a:moveTo>
                    <a:pt x="308" y="46"/>
                  </a:moveTo>
                  <a:cubicBezTo>
                    <a:pt x="350" y="76"/>
                    <a:pt x="325" y="109"/>
                    <a:pt x="252" y="120"/>
                  </a:cubicBezTo>
                  <a:cubicBezTo>
                    <a:pt x="179" y="131"/>
                    <a:pt x="85" y="116"/>
                    <a:pt x="43" y="86"/>
                  </a:cubicBezTo>
                  <a:cubicBezTo>
                    <a:pt x="0" y="56"/>
                    <a:pt x="25" y="22"/>
                    <a:pt x="99" y="11"/>
                  </a:cubicBezTo>
                  <a:cubicBezTo>
                    <a:pt x="172" y="0"/>
                    <a:pt x="265" y="16"/>
                    <a:pt x="308" y="46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4" name="Freeform 1040">
              <a:extLst>
                <a:ext uri="{FF2B5EF4-FFF2-40B4-BE49-F238E27FC236}">
                  <a16:creationId xmlns:a16="http://schemas.microsoft.com/office/drawing/2014/main" id="{43B48140-ED28-8474-0EF1-943F6E3D9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975"/>
              <a:ext cx="2152" cy="591"/>
            </a:xfrm>
            <a:custGeom>
              <a:avLst/>
              <a:gdLst>
                <a:gd name="T0" fmla="*/ 0 w 908"/>
                <a:gd name="T1" fmla="*/ 107 h 249"/>
                <a:gd name="T2" fmla="*/ 201 w 908"/>
                <a:gd name="T3" fmla="*/ 249 h 249"/>
                <a:gd name="T4" fmla="*/ 908 w 908"/>
                <a:gd name="T5" fmla="*/ 142 h 249"/>
                <a:gd name="T6" fmla="*/ 707 w 908"/>
                <a:gd name="T7" fmla="*/ 0 h 249"/>
                <a:gd name="T8" fmla="*/ 0 w 908"/>
                <a:gd name="T9" fmla="*/ 107 h 249"/>
                <a:gd name="T10" fmla="*/ 833 w 908"/>
                <a:gd name="T11" fmla="*/ 105 h 249"/>
                <a:gd name="T12" fmla="*/ 799 w 908"/>
                <a:gd name="T13" fmla="*/ 150 h 249"/>
                <a:gd name="T14" fmla="*/ 289 w 908"/>
                <a:gd name="T15" fmla="*/ 227 h 249"/>
                <a:gd name="T16" fmla="*/ 162 w 908"/>
                <a:gd name="T17" fmla="*/ 206 h 249"/>
                <a:gd name="T18" fmla="*/ 76 w 908"/>
                <a:gd name="T19" fmla="*/ 144 h 249"/>
                <a:gd name="T20" fmla="*/ 109 w 908"/>
                <a:gd name="T21" fmla="*/ 99 h 249"/>
                <a:gd name="T22" fmla="*/ 619 w 908"/>
                <a:gd name="T23" fmla="*/ 23 h 249"/>
                <a:gd name="T24" fmla="*/ 746 w 908"/>
                <a:gd name="T25" fmla="*/ 44 h 249"/>
                <a:gd name="T26" fmla="*/ 833 w 908"/>
                <a:gd name="T27" fmla="*/ 1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9">
                  <a:moveTo>
                    <a:pt x="0" y="107"/>
                  </a:moveTo>
                  <a:cubicBezTo>
                    <a:pt x="201" y="249"/>
                    <a:pt x="201" y="249"/>
                    <a:pt x="201" y="249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7"/>
                  </a:lnTo>
                  <a:close/>
                  <a:moveTo>
                    <a:pt x="833" y="105"/>
                  </a:moveTo>
                  <a:cubicBezTo>
                    <a:pt x="797" y="114"/>
                    <a:pt x="783" y="132"/>
                    <a:pt x="799" y="150"/>
                  </a:cubicBezTo>
                  <a:cubicBezTo>
                    <a:pt x="289" y="227"/>
                    <a:pt x="289" y="227"/>
                    <a:pt x="289" y="227"/>
                  </a:cubicBezTo>
                  <a:cubicBezTo>
                    <a:pt x="258" y="211"/>
                    <a:pt x="207" y="203"/>
                    <a:pt x="162" y="206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3"/>
                    <a:pt x="619" y="23"/>
                    <a:pt x="619" y="23"/>
                  </a:cubicBezTo>
                  <a:cubicBezTo>
                    <a:pt x="650" y="38"/>
                    <a:pt x="701" y="47"/>
                    <a:pt x="746" y="44"/>
                  </a:cubicBezTo>
                  <a:lnTo>
                    <a:pt x="833" y="105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5" name="Freeform 1041">
              <a:extLst>
                <a:ext uri="{FF2B5EF4-FFF2-40B4-BE49-F238E27FC236}">
                  <a16:creationId xmlns:a16="http://schemas.microsoft.com/office/drawing/2014/main" id="{05BDEDD4-5D87-9311-5FAC-160DCABE5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302"/>
              <a:ext cx="277" cy="105"/>
            </a:xfrm>
            <a:custGeom>
              <a:avLst/>
              <a:gdLst>
                <a:gd name="T0" fmla="*/ 102 w 117"/>
                <a:gd name="T1" fmla="*/ 16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2 w 117"/>
                <a:gd name="T9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6"/>
                  </a:moveTo>
                  <a:cubicBezTo>
                    <a:pt x="117" y="26"/>
                    <a:pt x="108" y="37"/>
                    <a:pt x="84" y="40"/>
                  </a:cubicBezTo>
                  <a:cubicBezTo>
                    <a:pt x="59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6"/>
                    <a:pt x="102" y="16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7" name="Freeform 1042">
              <a:extLst>
                <a:ext uri="{FF2B5EF4-FFF2-40B4-BE49-F238E27FC236}">
                  <a16:creationId xmlns:a16="http://schemas.microsoft.com/office/drawing/2014/main" id="{6669DC9D-09FC-0954-15AD-04AEF2C5D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2134"/>
              <a:ext cx="278" cy="104"/>
            </a:xfrm>
            <a:custGeom>
              <a:avLst/>
              <a:gdLst>
                <a:gd name="T0" fmla="*/ 103 w 117"/>
                <a:gd name="T1" fmla="*/ 15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3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8" name="Freeform 1043">
              <a:extLst>
                <a:ext uri="{FF2B5EF4-FFF2-40B4-BE49-F238E27FC236}">
                  <a16:creationId xmlns:a16="http://schemas.microsoft.com/office/drawing/2014/main" id="{B6DA8B19-3546-6A45-3D2E-A08CEE2AA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229"/>
              <a:ext cx="476" cy="387"/>
            </a:xfrm>
            <a:custGeom>
              <a:avLst/>
              <a:gdLst>
                <a:gd name="T0" fmla="*/ 0 w 476"/>
                <a:gd name="T1" fmla="*/ 50 h 387"/>
                <a:gd name="T2" fmla="*/ 476 w 476"/>
                <a:gd name="T3" fmla="*/ 387 h 387"/>
                <a:gd name="T4" fmla="*/ 476 w 476"/>
                <a:gd name="T5" fmla="*/ 337 h 387"/>
                <a:gd name="T6" fmla="*/ 0 w 476"/>
                <a:gd name="T7" fmla="*/ 0 h 387"/>
                <a:gd name="T8" fmla="*/ 0 w 476"/>
                <a:gd name="T9" fmla="*/ 5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7">
                  <a:moveTo>
                    <a:pt x="0" y="50"/>
                  </a:moveTo>
                  <a:lnTo>
                    <a:pt x="476" y="387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49" name="Freeform 1044">
              <a:extLst>
                <a:ext uri="{FF2B5EF4-FFF2-40B4-BE49-F238E27FC236}">
                  <a16:creationId xmlns:a16="http://schemas.microsoft.com/office/drawing/2014/main" id="{7917800C-704D-7CEE-88C2-966CE6F81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312"/>
              <a:ext cx="1676" cy="304"/>
            </a:xfrm>
            <a:custGeom>
              <a:avLst/>
              <a:gdLst>
                <a:gd name="T0" fmla="*/ 1676 w 1676"/>
                <a:gd name="T1" fmla="*/ 55 h 304"/>
                <a:gd name="T2" fmla="*/ 0 w 1676"/>
                <a:gd name="T3" fmla="*/ 304 h 304"/>
                <a:gd name="T4" fmla="*/ 0 w 1676"/>
                <a:gd name="T5" fmla="*/ 254 h 304"/>
                <a:gd name="T6" fmla="*/ 1676 w 1676"/>
                <a:gd name="T7" fmla="*/ 0 h 304"/>
                <a:gd name="T8" fmla="*/ 1676 w 1676"/>
                <a:gd name="T9" fmla="*/ 55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5"/>
                  </a:moveTo>
                  <a:lnTo>
                    <a:pt x="0" y="304"/>
                  </a:lnTo>
                  <a:lnTo>
                    <a:pt x="0" y="254"/>
                  </a:lnTo>
                  <a:lnTo>
                    <a:pt x="1676" y="0"/>
                  </a:lnTo>
                  <a:lnTo>
                    <a:pt x="1676" y="55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0" name="Freeform 1045">
              <a:extLst>
                <a:ext uri="{FF2B5EF4-FFF2-40B4-BE49-F238E27FC236}">
                  <a16:creationId xmlns:a16="http://schemas.microsoft.com/office/drawing/2014/main" id="{495DC7F9-F898-BC3D-2F3D-B2E9E5563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911"/>
              <a:ext cx="2017" cy="541"/>
            </a:xfrm>
            <a:custGeom>
              <a:avLst/>
              <a:gdLst>
                <a:gd name="T0" fmla="*/ 2017 w 2017"/>
                <a:gd name="T1" fmla="*/ 301 h 541"/>
                <a:gd name="T2" fmla="*/ 426 w 2017"/>
                <a:gd name="T3" fmla="*/ 541 h 541"/>
                <a:gd name="T4" fmla="*/ 0 w 2017"/>
                <a:gd name="T5" fmla="*/ 239 h 541"/>
                <a:gd name="T6" fmla="*/ 1590 w 2017"/>
                <a:gd name="T7" fmla="*/ 0 h 541"/>
                <a:gd name="T8" fmla="*/ 2017 w 2017"/>
                <a:gd name="T9" fmla="*/ 30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1">
                  <a:moveTo>
                    <a:pt x="2017" y="301"/>
                  </a:moveTo>
                  <a:lnTo>
                    <a:pt x="426" y="541"/>
                  </a:lnTo>
                  <a:lnTo>
                    <a:pt x="0" y="239"/>
                  </a:lnTo>
                  <a:lnTo>
                    <a:pt x="1590" y="0"/>
                  </a:lnTo>
                  <a:lnTo>
                    <a:pt x="2017" y="301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1" name="Freeform 1046">
              <a:extLst>
                <a:ext uri="{FF2B5EF4-FFF2-40B4-BE49-F238E27FC236}">
                  <a16:creationId xmlns:a16="http://schemas.microsoft.com/office/drawing/2014/main" id="{F23F0C20-FAAB-CDE5-5964-C72BAFB52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2027"/>
              <a:ext cx="830" cy="309"/>
            </a:xfrm>
            <a:custGeom>
              <a:avLst/>
              <a:gdLst>
                <a:gd name="T0" fmla="*/ 308 w 350"/>
                <a:gd name="T1" fmla="*/ 45 h 130"/>
                <a:gd name="T2" fmla="*/ 252 w 350"/>
                <a:gd name="T3" fmla="*/ 119 h 130"/>
                <a:gd name="T4" fmla="*/ 43 w 350"/>
                <a:gd name="T5" fmla="*/ 85 h 130"/>
                <a:gd name="T6" fmla="*/ 99 w 350"/>
                <a:gd name="T7" fmla="*/ 11 h 130"/>
                <a:gd name="T8" fmla="*/ 308 w 350"/>
                <a:gd name="T9" fmla="*/ 4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0">
                  <a:moveTo>
                    <a:pt x="308" y="45"/>
                  </a:moveTo>
                  <a:cubicBezTo>
                    <a:pt x="350" y="75"/>
                    <a:pt x="325" y="108"/>
                    <a:pt x="252" y="119"/>
                  </a:cubicBezTo>
                  <a:cubicBezTo>
                    <a:pt x="179" y="130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2" name="Freeform 1047">
              <a:extLst>
                <a:ext uri="{FF2B5EF4-FFF2-40B4-BE49-F238E27FC236}">
                  <a16:creationId xmlns:a16="http://schemas.microsoft.com/office/drawing/2014/main" id="{B3D1C385-2DC7-47A1-BBEF-30E740704E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887"/>
              <a:ext cx="2152" cy="589"/>
            </a:xfrm>
            <a:custGeom>
              <a:avLst/>
              <a:gdLst>
                <a:gd name="T0" fmla="*/ 0 w 908"/>
                <a:gd name="T1" fmla="*/ 106 h 248"/>
                <a:gd name="T2" fmla="*/ 201 w 908"/>
                <a:gd name="T3" fmla="*/ 248 h 248"/>
                <a:gd name="T4" fmla="*/ 908 w 908"/>
                <a:gd name="T5" fmla="*/ 142 h 248"/>
                <a:gd name="T6" fmla="*/ 707 w 908"/>
                <a:gd name="T7" fmla="*/ 0 h 248"/>
                <a:gd name="T8" fmla="*/ 0 w 908"/>
                <a:gd name="T9" fmla="*/ 106 h 248"/>
                <a:gd name="T10" fmla="*/ 833 w 908"/>
                <a:gd name="T11" fmla="*/ 104 h 248"/>
                <a:gd name="T12" fmla="*/ 799 w 908"/>
                <a:gd name="T13" fmla="*/ 149 h 248"/>
                <a:gd name="T14" fmla="*/ 289 w 908"/>
                <a:gd name="T15" fmla="*/ 226 h 248"/>
                <a:gd name="T16" fmla="*/ 162 w 908"/>
                <a:gd name="T17" fmla="*/ 205 h 248"/>
                <a:gd name="T18" fmla="*/ 76 w 908"/>
                <a:gd name="T19" fmla="*/ 144 h 248"/>
                <a:gd name="T20" fmla="*/ 109 w 908"/>
                <a:gd name="T21" fmla="*/ 99 h 248"/>
                <a:gd name="T22" fmla="*/ 619 w 908"/>
                <a:gd name="T23" fmla="*/ 22 h 248"/>
                <a:gd name="T24" fmla="*/ 746 w 908"/>
                <a:gd name="T25" fmla="*/ 43 h 248"/>
                <a:gd name="T26" fmla="*/ 833 w 908"/>
                <a:gd name="T27" fmla="*/ 10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8">
                  <a:moveTo>
                    <a:pt x="0" y="106"/>
                  </a:moveTo>
                  <a:cubicBezTo>
                    <a:pt x="201" y="248"/>
                    <a:pt x="201" y="248"/>
                    <a:pt x="201" y="248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4"/>
                  </a:moveTo>
                  <a:cubicBezTo>
                    <a:pt x="797" y="113"/>
                    <a:pt x="783" y="131"/>
                    <a:pt x="799" y="149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0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4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3" name="Freeform 1048">
              <a:extLst>
                <a:ext uri="{FF2B5EF4-FFF2-40B4-BE49-F238E27FC236}">
                  <a16:creationId xmlns:a16="http://schemas.microsoft.com/office/drawing/2014/main" id="{1E7F6A4F-7EEE-4AE9-5D1E-970A35BD9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215"/>
              <a:ext cx="277" cy="102"/>
            </a:xfrm>
            <a:custGeom>
              <a:avLst/>
              <a:gdLst>
                <a:gd name="T0" fmla="*/ 102 w 117"/>
                <a:gd name="T1" fmla="*/ 15 h 43"/>
                <a:gd name="T2" fmla="*/ 84 w 117"/>
                <a:gd name="T3" fmla="*/ 40 h 43"/>
                <a:gd name="T4" fmla="*/ 14 w 117"/>
                <a:gd name="T5" fmla="*/ 28 h 43"/>
                <a:gd name="T6" fmla="*/ 33 w 117"/>
                <a:gd name="T7" fmla="*/ 3 h 43"/>
                <a:gd name="T8" fmla="*/ 102 w 117"/>
                <a:gd name="T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3"/>
                    <a:pt x="28" y="38"/>
                    <a:pt x="14" y="28"/>
                  </a:cubicBezTo>
                  <a:cubicBezTo>
                    <a:pt x="0" y="18"/>
                    <a:pt x="8" y="7"/>
                    <a:pt x="33" y="3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4" name="Freeform 1049">
              <a:extLst>
                <a:ext uri="{FF2B5EF4-FFF2-40B4-BE49-F238E27FC236}">
                  <a16:creationId xmlns:a16="http://schemas.microsoft.com/office/drawing/2014/main" id="{BD53F2B2-66E5-F7E0-D276-A133D5DDA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2044"/>
              <a:ext cx="278" cy="104"/>
            </a:xfrm>
            <a:custGeom>
              <a:avLst/>
              <a:gdLst>
                <a:gd name="T0" fmla="*/ 103 w 117"/>
                <a:gd name="T1" fmla="*/ 16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3 w 117"/>
                <a:gd name="T9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3" y="16"/>
                  </a:moveTo>
                  <a:cubicBezTo>
                    <a:pt x="117" y="26"/>
                    <a:pt x="108" y="37"/>
                    <a:pt x="84" y="40"/>
                  </a:cubicBezTo>
                  <a:cubicBezTo>
                    <a:pt x="60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6"/>
                    <a:pt x="103" y="16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5" name="Freeform 1050">
              <a:extLst>
                <a:ext uri="{FF2B5EF4-FFF2-40B4-BE49-F238E27FC236}">
                  <a16:creationId xmlns:a16="http://schemas.microsoft.com/office/drawing/2014/main" id="{45210740-9244-887E-3D98-E52E95AEA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139"/>
              <a:ext cx="476" cy="389"/>
            </a:xfrm>
            <a:custGeom>
              <a:avLst/>
              <a:gdLst>
                <a:gd name="T0" fmla="*/ 0 w 476"/>
                <a:gd name="T1" fmla="*/ 52 h 389"/>
                <a:gd name="T2" fmla="*/ 476 w 476"/>
                <a:gd name="T3" fmla="*/ 389 h 389"/>
                <a:gd name="T4" fmla="*/ 476 w 476"/>
                <a:gd name="T5" fmla="*/ 337 h 389"/>
                <a:gd name="T6" fmla="*/ 0 w 476"/>
                <a:gd name="T7" fmla="*/ 0 h 389"/>
                <a:gd name="T8" fmla="*/ 0 w 476"/>
                <a:gd name="T9" fmla="*/ 52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9">
                  <a:moveTo>
                    <a:pt x="0" y="52"/>
                  </a:moveTo>
                  <a:lnTo>
                    <a:pt x="476" y="389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6" name="Freeform 1051">
              <a:extLst>
                <a:ext uri="{FF2B5EF4-FFF2-40B4-BE49-F238E27FC236}">
                  <a16:creationId xmlns:a16="http://schemas.microsoft.com/office/drawing/2014/main" id="{C8194D70-40A0-B4EC-BD7C-100E3DB1B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224"/>
              <a:ext cx="1676" cy="304"/>
            </a:xfrm>
            <a:custGeom>
              <a:avLst/>
              <a:gdLst>
                <a:gd name="T0" fmla="*/ 1676 w 1676"/>
                <a:gd name="T1" fmla="*/ 52 h 304"/>
                <a:gd name="T2" fmla="*/ 0 w 1676"/>
                <a:gd name="T3" fmla="*/ 304 h 304"/>
                <a:gd name="T4" fmla="*/ 0 w 1676"/>
                <a:gd name="T5" fmla="*/ 252 h 304"/>
                <a:gd name="T6" fmla="*/ 1676 w 1676"/>
                <a:gd name="T7" fmla="*/ 0 h 304"/>
                <a:gd name="T8" fmla="*/ 1676 w 1676"/>
                <a:gd name="T9" fmla="*/ 5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2"/>
                  </a:moveTo>
                  <a:lnTo>
                    <a:pt x="0" y="304"/>
                  </a:lnTo>
                  <a:lnTo>
                    <a:pt x="0" y="252"/>
                  </a:lnTo>
                  <a:lnTo>
                    <a:pt x="1676" y="0"/>
                  </a:lnTo>
                  <a:lnTo>
                    <a:pt x="1676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7" name="Freeform 1052">
              <a:extLst>
                <a:ext uri="{FF2B5EF4-FFF2-40B4-BE49-F238E27FC236}">
                  <a16:creationId xmlns:a16="http://schemas.microsoft.com/office/drawing/2014/main" id="{1484B3E5-9B21-C87C-D285-53313FE26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820"/>
              <a:ext cx="2017" cy="542"/>
            </a:xfrm>
            <a:custGeom>
              <a:avLst/>
              <a:gdLst>
                <a:gd name="T0" fmla="*/ 2017 w 2017"/>
                <a:gd name="T1" fmla="*/ 302 h 542"/>
                <a:gd name="T2" fmla="*/ 426 w 2017"/>
                <a:gd name="T3" fmla="*/ 542 h 542"/>
                <a:gd name="T4" fmla="*/ 0 w 2017"/>
                <a:gd name="T5" fmla="*/ 240 h 542"/>
                <a:gd name="T6" fmla="*/ 1590 w 2017"/>
                <a:gd name="T7" fmla="*/ 0 h 542"/>
                <a:gd name="T8" fmla="*/ 2017 w 2017"/>
                <a:gd name="T9" fmla="*/ 30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2">
                  <a:moveTo>
                    <a:pt x="2017" y="302"/>
                  </a:moveTo>
                  <a:lnTo>
                    <a:pt x="426" y="542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2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8" name="Freeform 1053">
              <a:extLst>
                <a:ext uri="{FF2B5EF4-FFF2-40B4-BE49-F238E27FC236}">
                  <a16:creationId xmlns:a16="http://schemas.microsoft.com/office/drawing/2014/main" id="{6EB16623-280E-F64D-E210-B33E292D1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1937"/>
              <a:ext cx="830" cy="308"/>
            </a:xfrm>
            <a:custGeom>
              <a:avLst/>
              <a:gdLst>
                <a:gd name="T0" fmla="*/ 308 w 350"/>
                <a:gd name="T1" fmla="*/ 45 h 130"/>
                <a:gd name="T2" fmla="*/ 252 w 350"/>
                <a:gd name="T3" fmla="*/ 119 h 130"/>
                <a:gd name="T4" fmla="*/ 43 w 350"/>
                <a:gd name="T5" fmla="*/ 85 h 130"/>
                <a:gd name="T6" fmla="*/ 99 w 350"/>
                <a:gd name="T7" fmla="*/ 11 h 130"/>
                <a:gd name="T8" fmla="*/ 308 w 350"/>
                <a:gd name="T9" fmla="*/ 4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0">
                  <a:moveTo>
                    <a:pt x="308" y="45"/>
                  </a:moveTo>
                  <a:cubicBezTo>
                    <a:pt x="350" y="75"/>
                    <a:pt x="325" y="108"/>
                    <a:pt x="252" y="119"/>
                  </a:cubicBezTo>
                  <a:cubicBezTo>
                    <a:pt x="179" y="130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59" name="Freeform 1054">
              <a:extLst>
                <a:ext uri="{FF2B5EF4-FFF2-40B4-BE49-F238E27FC236}">
                  <a16:creationId xmlns:a16="http://schemas.microsoft.com/office/drawing/2014/main" id="{93BF327B-70CD-7EC6-8C70-28ABAFA1F6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797"/>
              <a:ext cx="2152" cy="589"/>
            </a:xfrm>
            <a:custGeom>
              <a:avLst/>
              <a:gdLst>
                <a:gd name="T0" fmla="*/ 0 w 908"/>
                <a:gd name="T1" fmla="*/ 106 h 248"/>
                <a:gd name="T2" fmla="*/ 201 w 908"/>
                <a:gd name="T3" fmla="*/ 248 h 248"/>
                <a:gd name="T4" fmla="*/ 908 w 908"/>
                <a:gd name="T5" fmla="*/ 142 h 248"/>
                <a:gd name="T6" fmla="*/ 707 w 908"/>
                <a:gd name="T7" fmla="*/ 0 h 248"/>
                <a:gd name="T8" fmla="*/ 0 w 908"/>
                <a:gd name="T9" fmla="*/ 106 h 248"/>
                <a:gd name="T10" fmla="*/ 833 w 908"/>
                <a:gd name="T11" fmla="*/ 104 h 248"/>
                <a:gd name="T12" fmla="*/ 799 w 908"/>
                <a:gd name="T13" fmla="*/ 149 h 248"/>
                <a:gd name="T14" fmla="*/ 289 w 908"/>
                <a:gd name="T15" fmla="*/ 226 h 248"/>
                <a:gd name="T16" fmla="*/ 162 w 908"/>
                <a:gd name="T17" fmla="*/ 205 h 248"/>
                <a:gd name="T18" fmla="*/ 76 w 908"/>
                <a:gd name="T19" fmla="*/ 144 h 248"/>
                <a:gd name="T20" fmla="*/ 109 w 908"/>
                <a:gd name="T21" fmla="*/ 99 h 248"/>
                <a:gd name="T22" fmla="*/ 619 w 908"/>
                <a:gd name="T23" fmla="*/ 22 h 248"/>
                <a:gd name="T24" fmla="*/ 746 w 908"/>
                <a:gd name="T25" fmla="*/ 43 h 248"/>
                <a:gd name="T26" fmla="*/ 833 w 908"/>
                <a:gd name="T27" fmla="*/ 10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8">
                  <a:moveTo>
                    <a:pt x="0" y="106"/>
                  </a:moveTo>
                  <a:cubicBezTo>
                    <a:pt x="201" y="248"/>
                    <a:pt x="201" y="248"/>
                    <a:pt x="201" y="248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4"/>
                  </a:moveTo>
                  <a:cubicBezTo>
                    <a:pt x="797" y="114"/>
                    <a:pt x="783" y="132"/>
                    <a:pt x="799" y="149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1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4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60" name="Freeform 1055">
              <a:extLst>
                <a:ext uri="{FF2B5EF4-FFF2-40B4-BE49-F238E27FC236}">
                  <a16:creationId xmlns:a16="http://schemas.microsoft.com/office/drawing/2014/main" id="{DB3AA75E-B190-364D-5CF4-78A84D344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124"/>
              <a:ext cx="277" cy="105"/>
            </a:xfrm>
            <a:custGeom>
              <a:avLst/>
              <a:gdLst>
                <a:gd name="T0" fmla="*/ 102 w 117"/>
                <a:gd name="T1" fmla="*/ 15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2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4"/>
                    <a:pt x="28" y="39"/>
                    <a:pt x="14" y="29"/>
                  </a:cubicBezTo>
                  <a:cubicBezTo>
                    <a:pt x="0" y="19"/>
                    <a:pt x="8" y="7"/>
                    <a:pt x="33" y="4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61" name="Freeform 1056">
              <a:extLst>
                <a:ext uri="{FF2B5EF4-FFF2-40B4-BE49-F238E27FC236}">
                  <a16:creationId xmlns:a16="http://schemas.microsoft.com/office/drawing/2014/main" id="{497725B5-B4CD-354E-3B7E-4CCAD9595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956"/>
              <a:ext cx="278" cy="102"/>
            </a:xfrm>
            <a:custGeom>
              <a:avLst/>
              <a:gdLst>
                <a:gd name="T0" fmla="*/ 103 w 117"/>
                <a:gd name="T1" fmla="*/ 15 h 43"/>
                <a:gd name="T2" fmla="*/ 84 w 117"/>
                <a:gd name="T3" fmla="*/ 40 h 43"/>
                <a:gd name="T4" fmla="*/ 14 w 117"/>
                <a:gd name="T5" fmla="*/ 28 h 43"/>
                <a:gd name="T6" fmla="*/ 33 w 117"/>
                <a:gd name="T7" fmla="*/ 3 h 43"/>
                <a:gd name="T8" fmla="*/ 103 w 117"/>
                <a:gd name="T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3"/>
                    <a:pt x="28" y="38"/>
                    <a:pt x="14" y="28"/>
                  </a:cubicBezTo>
                  <a:cubicBezTo>
                    <a:pt x="0" y="18"/>
                    <a:pt x="8" y="7"/>
                    <a:pt x="33" y="3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62" name="Freeform 1057">
              <a:extLst>
                <a:ext uri="{FF2B5EF4-FFF2-40B4-BE49-F238E27FC236}">
                  <a16:creationId xmlns:a16="http://schemas.microsoft.com/office/drawing/2014/main" id="{8476FE63-BEE4-420F-55C6-63F00B3E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2048"/>
              <a:ext cx="476" cy="390"/>
            </a:xfrm>
            <a:custGeom>
              <a:avLst/>
              <a:gdLst>
                <a:gd name="T0" fmla="*/ 0 w 476"/>
                <a:gd name="T1" fmla="*/ 53 h 390"/>
                <a:gd name="T2" fmla="*/ 476 w 476"/>
                <a:gd name="T3" fmla="*/ 390 h 390"/>
                <a:gd name="T4" fmla="*/ 476 w 476"/>
                <a:gd name="T5" fmla="*/ 338 h 390"/>
                <a:gd name="T6" fmla="*/ 0 w 476"/>
                <a:gd name="T7" fmla="*/ 0 h 390"/>
                <a:gd name="T8" fmla="*/ 0 w 476"/>
                <a:gd name="T9" fmla="*/ 53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90">
                  <a:moveTo>
                    <a:pt x="0" y="53"/>
                  </a:moveTo>
                  <a:lnTo>
                    <a:pt x="476" y="390"/>
                  </a:lnTo>
                  <a:lnTo>
                    <a:pt x="476" y="338"/>
                  </a:lnTo>
                  <a:lnTo>
                    <a:pt x="0" y="0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63" name="Freeform 1058">
              <a:extLst>
                <a:ext uri="{FF2B5EF4-FFF2-40B4-BE49-F238E27FC236}">
                  <a16:creationId xmlns:a16="http://schemas.microsoft.com/office/drawing/2014/main" id="{E0BBE3A9-B31B-ABBD-52B0-F12030592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134"/>
              <a:ext cx="1676" cy="304"/>
            </a:xfrm>
            <a:custGeom>
              <a:avLst/>
              <a:gdLst>
                <a:gd name="T0" fmla="*/ 1676 w 1676"/>
                <a:gd name="T1" fmla="*/ 52 h 304"/>
                <a:gd name="T2" fmla="*/ 0 w 1676"/>
                <a:gd name="T3" fmla="*/ 304 h 304"/>
                <a:gd name="T4" fmla="*/ 0 w 1676"/>
                <a:gd name="T5" fmla="*/ 252 h 304"/>
                <a:gd name="T6" fmla="*/ 1676 w 1676"/>
                <a:gd name="T7" fmla="*/ 0 h 304"/>
                <a:gd name="T8" fmla="*/ 1676 w 1676"/>
                <a:gd name="T9" fmla="*/ 5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2"/>
                  </a:moveTo>
                  <a:lnTo>
                    <a:pt x="0" y="304"/>
                  </a:lnTo>
                  <a:lnTo>
                    <a:pt x="0" y="252"/>
                  </a:lnTo>
                  <a:lnTo>
                    <a:pt x="1676" y="0"/>
                  </a:lnTo>
                  <a:lnTo>
                    <a:pt x="1676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28" name="Freeform 1059">
              <a:extLst>
                <a:ext uri="{FF2B5EF4-FFF2-40B4-BE49-F238E27FC236}">
                  <a16:creationId xmlns:a16="http://schemas.microsoft.com/office/drawing/2014/main" id="{6C80BBBB-55A8-FC98-E3BF-2403A2419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730"/>
              <a:ext cx="2017" cy="544"/>
            </a:xfrm>
            <a:custGeom>
              <a:avLst/>
              <a:gdLst>
                <a:gd name="T0" fmla="*/ 2017 w 2017"/>
                <a:gd name="T1" fmla="*/ 304 h 544"/>
                <a:gd name="T2" fmla="*/ 426 w 2017"/>
                <a:gd name="T3" fmla="*/ 544 h 544"/>
                <a:gd name="T4" fmla="*/ 0 w 2017"/>
                <a:gd name="T5" fmla="*/ 240 h 544"/>
                <a:gd name="T6" fmla="*/ 1590 w 2017"/>
                <a:gd name="T7" fmla="*/ 0 h 544"/>
                <a:gd name="T8" fmla="*/ 2017 w 2017"/>
                <a:gd name="T9" fmla="*/ 30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4">
                  <a:moveTo>
                    <a:pt x="2017" y="304"/>
                  </a:moveTo>
                  <a:lnTo>
                    <a:pt x="426" y="544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4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49" name="Freeform 1060">
              <a:extLst>
                <a:ext uri="{FF2B5EF4-FFF2-40B4-BE49-F238E27FC236}">
                  <a16:creationId xmlns:a16="http://schemas.microsoft.com/office/drawing/2014/main" id="{3097B55A-3D36-D21F-76C3-88DDE0F9A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1847"/>
              <a:ext cx="830" cy="311"/>
            </a:xfrm>
            <a:custGeom>
              <a:avLst/>
              <a:gdLst>
                <a:gd name="T0" fmla="*/ 308 w 350"/>
                <a:gd name="T1" fmla="*/ 46 h 131"/>
                <a:gd name="T2" fmla="*/ 252 w 350"/>
                <a:gd name="T3" fmla="*/ 120 h 131"/>
                <a:gd name="T4" fmla="*/ 43 w 350"/>
                <a:gd name="T5" fmla="*/ 85 h 131"/>
                <a:gd name="T6" fmla="*/ 99 w 350"/>
                <a:gd name="T7" fmla="*/ 11 h 131"/>
                <a:gd name="T8" fmla="*/ 308 w 350"/>
                <a:gd name="T9" fmla="*/ 4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1">
                  <a:moveTo>
                    <a:pt x="308" y="46"/>
                  </a:moveTo>
                  <a:cubicBezTo>
                    <a:pt x="350" y="76"/>
                    <a:pt x="325" y="109"/>
                    <a:pt x="252" y="120"/>
                  </a:cubicBezTo>
                  <a:cubicBezTo>
                    <a:pt x="179" y="131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6"/>
                    <a:pt x="308" y="46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0" name="Freeform 1061">
              <a:extLst>
                <a:ext uri="{FF2B5EF4-FFF2-40B4-BE49-F238E27FC236}">
                  <a16:creationId xmlns:a16="http://schemas.microsoft.com/office/drawing/2014/main" id="{721980A3-EF47-9BA7-6AE2-8892A6399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706"/>
              <a:ext cx="2152" cy="592"/>
            </a:xfrm>
            <a:custGeom>
              <a:avLst/>
              <a:gdLst>
                <a:gd name="T0" fmla="*/ 0 w 908"/>
                <a:gd name="T1" fmla="*/ 107 h 249"/>
                <a:gd name="T2" fmla="*/ 201 w 908"/>
                <a:gd name="T3" fmla="*/ 249 h 249"/>
                <a:gd name="T4" fmla="*/ 908 w 908"/>
                <a:gd name="T5" fmla="*/ 142 h 249"/>
                <a:gd name="T6" fmla="*/ 707 w 908"/>
                <a:gd name="T7" fmla="*/ 0 h 249"/>
                <a:gd name="T8" fmla="*/ 0 w 908"/>
                <a:gd name="T9" fmla="*/ 107 h 249"/>
                <a:gd name="T10" fmla="*/ 833 w 908"/>
                <a:gd name="T11" fmla="*/ 105 h 249"/>
                <a:gd name="T12" fmla="*/ 799 w 908"/>
                <a:gd name="T13" fmla="*/ 150 h 249"/>
                <a:gd name="T14" fmla="*/ 289 w 908"/>
                <a:gd name="T15" fmla="*/ 226 h 249"/>
                <a:gd name="T16" fmla="*/ 162 w 908"/>
                <a:gd name="T17" fmla="*/ 206 h 249"/>
                <a:gd name="T18" fmla="*/ 76 w 908"/>
                <a:gd name="T19" fmla="*/ 144 h 249"/>
                <a:gd name="T20" fmla="*/ 109 w 908"/>
                <a:gd name="T21" fmla="*/ 99 h 249"/>
                <a:gd name="T22" fmla="*/ 619 w 908"/>
                <a:gd name="T23" fmla="*/ 23 h 249"/>
                <a:gd name="T24" fmla="*/ 746 w 908"/>
                <a:gd name="T25" fmla="*/ 43 h 249"/>
                <a:gd name="T26" fmla="*/ 833 w 908"/>
                <a:gd name="T27" fmla="*/ 1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9">
                  <a:moveTo>
                    <a:pt x="0" y="107"/>
                  </a:moveTo>
                  <a:cubicBezTo>
                    <a:pt x="201" y="249"/>
                    <a:pt x="201" y="249"/>
                    <a:pt x="201" y="249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7"/>
                  </a:lnTo>
                  <a:close/>
                  <a:moveTo>
                    <a:pt x="833" y="105"/>
                  </a:moveTo>
                  <a:cubicBezTo>
                    <a:pt x="797" y="114"/>
                    <a:pt x="783" y="132"/>
                    <a:pt x="799" y="150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1"/>
                    <a:pt x="207" y="203"/>
                    <a:pt x="162" y="206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3"/>
                    <a:pt x="619" y="23"/>
                    <a:pt x="619" y="23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5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1" name="Freeform 1062">
              <a:extLst>
                <a:ext uri="{FF2B5EF4-FFF2-40B4-BE49-F238E27FC236}">
                  <a16:creationId xmlns:a16="http://schemas.microsoft.com/office/drawing/2014/main" id="{91A4A637-398C-9FF7-8A7A-7903FC522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2034"/>
              <a:ext cx="277" cy="105"/>
            </a:xfrm>
            <a:custGeom>
              <a:avLst/>
              <a:gdLst>
                <a:gd name="T0" fmla="*/ 102 w 117"/>
                <a:gd name="T1" fmla="*/ 15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2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5"/>
                  </a:moveTo>
                  <a:cubicBezTo>
                    <a:pt x="117" y="26"/>
                    <a:pt x="108" y="37"/>
                    <a:pt x="84" y="40"/>
                  </a:cubicBezTo>
                  <a:cubicBezTo>
                    <a:pt x="59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2" name="Freeform 1063">
              <a:extLst>
                <a:ext uri="{FF2B5EF4-FFF2-40B4-BE49-F238E27FC236}">
                  <a16:creationId xmlns:a16="http://schemas.microsoft.com/office/drawing/2014/main" id="{017BECF7-7345-B6D6-5E23-C645683D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866"/>
              <a:ext cx="278" cy="104"/>
            </a:xfrm>
            <a:custGeom>
              <a:avLst/>
              <a:gdLst>
                <a:gd name="T0" fmla="*/ 103 w 117"/>
                <a:gd name="T1" fmla="*/ 15 h 44"/>
                <a:gd name="T2" fmla="*/ 84 w 117"/>
                <a:gd name="T3" fmla="*/ 40 h 44"/>
                <a:gd name="T4" fmla="*/ 14 w 117"/>
                <a:gd name="T5" fmla="*/ 28 h 44"/>
                <a:gd name="T6" fmla="*/ 33 w 117"/>
                <a:gd name="T7" fmla="*/ 4 h 44"/>
                <a:gd name="T8" fmla="*/ 103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4"/>
                    <a:pt x="28" y="39"/>
                    <a:pt x="14" y="28"/>
                  </a:cubicBezTo>
                  <a:cubicBezTo>
                    <a:pt x="0" y="18"/>
                    <a:pt x="8" y="7"/>
                    <a:pt x="33" y="4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3" name="Freeform 1064">
              <a:extLst>
                <a:ext uri="{FF2B5EF4-FFF2-40B4-BE49-F238E27FC236}">
                  <a16:creationId xmlns:a16="http://schemas.microsoft.com/office/drawing/2014/main" id="{5875D635-8FA9-B65D-20AE-058EA77B1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1961"/>
              <a:ext cx="476" cy="387"/>
            </a:xfrm>
            <a:custGeom>
              <a:avLst/>
              <a:gdLst>
                <a:gd name="T0" fmla="*/ 0 w 476"/>
                <a:gd name="T1" fmla="*/ 49 h 387"/>
                <a:gd name="T2" fmla="*/ 476 w 476"/>
                <a:gd name="T3" fmla="*/ 387 h 387"/>
                <a:gd name="T4" fmla="*/ 476 w 476"/>
                <a:gd name="T5" fmla="*/ 337 h 387"/>
                <a:gd name="T6" fmla="*/ 0 w 476"/>
                <a:gd name="T7" fmla="*/ 0 h 387"/>
                <a:gd name="T8" fmla="*/ 0 w 476"/>
                <a:gd name="T9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7">
                  <a:moveTo>
                    <a:pt x="0" y="49"/>
                  </a:moveTo>
                  <a:lnTo>
                    <a:pt x="476" y="387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4" name="Freeform 1065">
              <a:extLst>
                <a:ext uri="{FF2B5EF4-FFF2-40B4-BE49-F238E27FC236}">
                  <a16:creationId xmlns:a16="http://schemas.microsoft.com/office/drawing/2014/main" id="{F5D34135-619A-E22D-8BE9-65FBE7996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2044"/>
              <a:ext cx="1676" cy="304"/>
            </a:xfrm>
            <a:custGeom>
              <a:avLst/>
              <a:gdLst>
                <a:gd name="T0" fmla="*/ 1676 w 1676"/>
                <a:gd name="T1" fmla="*/ 54 h 304"/>
                <a:gd name="T2" fmla="*/ 0 w 1676"/>
                <a:gd name="T3" fmla="*/ 304 h 304"/>
                <a:gd name="T4" fmla="*/ 0 w 1676"/>
                <a:gd name="T5" fmla="*/ 254 h 304"/>
                <a:gd name="T6" fmla="*/ 1676 w 1676"/>
                <a:gd name="T7" fmla="*/ 0 h 304"/>
                <a:gd name="T8" fmla="*/ 1676 w 1676"/>
                <a:gd name="T9" fmla="*/ 5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4"/>
                  </a:moveTo>
                  <a:lnTo>
                    <a:pt x="0" y="304"/>
                  </a:lnTo>
                  <a:lnTo>
                    <a:pt x="0" y="254"/>
                  </a:lnTo>
                  <a:lnTo>
                    <a:pt x="1676" y="0"/>
                  </a:lnTo>
                  <a:lnTo>
                    <a:pt x="1676" y="54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5" name="Freeform 1066">
              <a:extLst>
                <a:ext uri="{FF2B5EF4-FFF2-40B4-BE49-F238E27FC236}">
                  <a16:creationId xmlns:a16="http://schemas.microsoft.com/office/drawing/2014/main" id="{EB82A67F-CBD0-79BF-61E9-691667DB8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642"/>
              <a:ext cx="2017" cy="542"/>
            </a:xfrm>
            <a:custGeom>
              <a:avLst/>
              <a:gdLst>
                <a:gd name="T0" fmla="*/ 2017 w 2017"/>
                <a:gd name="T1" fmla="*/ 302 h 542"/>
                <a:gd name="T2" fmla="*/ 426 w 2017"/>
                <a:gd name="T3" fmla="*/ 542 h 542"/>
                <a:gd name="T4" fmla="*/ 0 w 2017"/>
                <a:gd name="T5" fmla="*/ 240 h 542"/>
                <a:gd name="T6" fmla="*/ 1590 w 2017"/>
                <a:gd name="T7" fmla="*/ 0 h 542"/>
                <a:gd name="T8" fmla="*/ 2017 w 2017"/>
                <a:gd name="T9" fmla="*/ 30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2">
                  <a:moveTo>
                    <a:pt x="2017" y="302"/>
                  </a:moveTo>
                  <a:lnTo>
                    <a:pt x="426" y="542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2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6" name="Freeform 1067">
              <a:extLst>
                <a:ext uri="{FF2B5EF4-FFF2-40B4-BE49-F238E27FC236}">
                  <a16:creationId xmlns:a16="http://schemas.microsoft.com/office/drawing/2014/main" id="{2FBB8975-DAE4-326F-24D6-DC82FBAEA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1759"/>
              <a:ext cx="830" cy="308"/>
            </a:xfrm>
            <a:custGeom>
              <a:avLst/>
              <a:gdLst>
                <a:gd name="T0" fmla="*/ 308 w 350"/>
                <a:gd name="T1" fmla="*/ 45 h 130"/>
                <a:gd name="T2" fmla="*/ 252 w 350"/>
                <a:gd name="T3" fmla="*/ 119 h 130"/>
                <a:gd name="T4" fmla="*/ 43 w 350"/>
                <a:gd name="T5" fmla="*/ 85 h 130"/>
                <a:gd name="T6" fmla="*/ 99 w 350"/>
                <a:gd name="T7" fmla="*/ 11 h 130"/>
                <a:gd name="T8" fmla="*/ 308 w 350"/>
                <a:gd name="T9" fmla="*/ 4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0">
                  <a:moveTo>
                    <a:pt x="308" y="45"/>
                  </a:moveTo>
                  <a:cubicBezTo>
                    <a:pt x="350" y="75"/>
                    <a:pt x="325" y="108"/>
                    <a:pt x="252" y="119"/>
                  </a:cubicBezTo>
                  <a:cubicBezTo>
                    <a:pt x="179" y="130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7" name="Freeform 1068">
              <a:extLst>
                <a:ext uri="{FF2B5EF4-FFF2-40B4-BE49-F238E27FC236}">
                  <a16:creationId xmlns:a16="http://schemas.microsoft.com/office/drawing/2014/main" id="{B3104F1D-E79A-44AB-8417-A7308B7769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619"/>
              <a:ext cx="2152" cy="588"/>
            </a:xfrm>
            <a:custGeom>
              <a:avLst/>
              <a:gdLst>
                <a:gd name="T0" fmla="*/ 0 w 908"/>
                <a:gd name="T1" fmla="*/ 106 h 248"/>
                <a:gd name="T2" fmla="*/ 201 w 908"/>
                <a:gd name="T3" fmla="*/ 248 h 248"/>
                <a:gd name="T4" fmla="*/ 908 w 908"/>
                <a:gd name="T5" fmla="*/ 142 h 248"/>
                <a:gd name="T6" fmla="*/ 707 w 908"/>
                <a:gd name="T7" fmla="*/ 0 h 248"/>
                <a:gd name="T8" fmla="*/ 0 w 908"/>
                <a:gd name="T9" fmla="*/ 106 h 248"/>
                <a:gd name="T10" fmla="*/ 833 w 908"/>
                <a:gd name="T11" fmla="*/ 104 h 248"/>
                <a:gd name="T12" fmla="*/ 799 w 908"/>
                <a:gd name="T13" fmla="*/ 149 h 248"/>
                <a:gd name="T14" fmla="*/ 289 w 908"/>
                <a:gd name="T15" fmla="*/ 226 h 248"/>
                <a:gd name="T16" fmla="*/ 162 w 908"/>
                <a:gd name="T17" fmla="*/ 205 h 248"/>
                <a:gd name="T18" fmla="*/ 76 w 908"/>
                <a:gd name="T19" fmla="*/ 144 h 248"/>
                <a:gd name="T20" fmla="*/ 109 w 908"/>
                <a:gd name="T21" fmla="*/ 99 h 248"/>
                <a:gd name="T22" fmla="*/ 619 w 908"/>
                <a:gd name="T23" fmla="*/ 22 h 248"/>
                <a:gd name="T24" fmla="*/ 746 w 908"/>
                <a:gd name="T25" fmla="*/ 43 h 248"/>
                <a:gd name="T26" fmla="*/ 833 w 908"/>
                <a:gd name="T27" fmla="*/ 10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8">
                  <a:moveTo>
                    <a:pt x="0" y="106"/>
                  </a:moveTo>
                  <a:cubicBezTo>
                    <a:pt x="201" y="248"/>
                    <a:pt x="201" y="248"/>
                    <a:pt x="201" y="248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4"/>
                  </a:moveTo>
                  <a:cubicBezTo>
                    <a:pt x="797" y="113"/>
                    <a:pt x="783" y="131"/>
                    <a:pt x="799" y="149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0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4"/>
                    <a:pt x="125" y="116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7"/>
                    <a:pt x="701" y="46"/>
                    <a:pt x="746" y="43"/>
                  </a:cubicBezTo>
                  <a:lnTo>
                    <a:pt x="833" y="104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8" name="Freeform 1069">
              <a:extLst>
                <a:ext uri="{FF2B5EF4-FFF2-40B4-BE49-F238E27FC236}">
                  <a16:creationId xmlns:a16="http://schemas.microsoft.com/office/drawing/2014/main" id="{E9248AAB-A707-72B4-B02E-CE108356F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1946"/>
              <a:ext cx="277" cy="102"/>
            </a:xfrm>
            <a:custGeom>
              <a:avLst/>
              <a:gdLst>
                <a:gd name="T0" fmla="*/ 102 w 117"/>
                <a:gd name="T1" fmla="*/ 15 h 43"/>
                <a:gd name="T2" fmla="*/ 84 w 117"/>
                <a:gd name="T3" fmla="*/ 40 h 43"/>
                <a:gd name="T4" fmla="*/ 14 w 117"/>
                <a:gd name="T5" fmla="*/ 28 h 43"/>
                <a:gd name="T6" fmla="*/ 33 w 117"/>
                <a:gd name="T7" fmla="*/ 3 h 43"/>
                <a:gd name="T8" fmla="*/ 102 w 117"/>
                <a:gd name="T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3"/>
                    <a:pt x="28" y="38"/>
                    <a:pt x="14" y="28"/>
                  </a:cubicBezTo>
                  <a:cubicBezTo>
                    <a:pt x="0" y="18"/>
                    <a:pt x="8" y="7"/>
                    <a:pt x="33" y="3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59" name="Freeform 1070">
              <a:extLst>
                <a:ext uri="{FF2B5EF4-FFF2-40B4-BE49-F238E27FC236}">
                  <a16:creationId xmlns:a16="http://schemas.microsoft.com/office/drawing/2014/main" id="{9854DD85-80C8-3006-ADFB-489501A0C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775"/>
              <a:ext cx="278" cy="105"/>
            </a:xfrm>
            <a:custGeom>
              <a:avLst/>
              <a:gdLst>
                <a:gd name="T0" fmla="*/ 103 w 117"/>
                <a:gd name="T1" fmla="*/ 15 h 44"/>
                <a:gd name="T2" fmla="*/ 84 w 117"/>
                <a:gd name="T3" fmla="*/ 40 h 44"/>
                <a:gd name="T4" fmla="*/ 14 w 117"/>
                <a:gd name="T5" fmla="*/ 29 h 44"/>
                <a:gd name="T6" fmla="*/ 33 w 117"/>
                <a:gd name="T7" fmla="*/ 4 h 44"/>
                <a:gd name="T8" fmla="*/ 103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3" y="15"/>
                  </a:moveTo>
                  <a:cubicBezTo>
                    <a:pt x="117" y="25"/>
                    <a:pt x="108" y="37"/>
                    <a:pt x="84" y="40"/>
                  </a:cubicBezTo>
                  <a:cubicBezTo>
                    <a:pt x="60" y="44"/>
                    <a:pt x="28" y="39"/>
                    <a:pt x="14" y="29"/>
                  </a:cubicBezTo>
                  <a:cubicBezTo>
                    <a:pt x="0" y="19"/>
                    <a:pt x="8" y="8"/>
                    <a:pt x="33" y="4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0" name="Freeform 1071">
              <a:extLst>
                <a:ext uri="{FF2B5EF4-FFF2-40B4-BE49-F238E27FC236}">
                  <a16:creationId xmlns:a16="http://schemas.microsoft.com/office/drawing/2014/main" id="{1C24C35C-BA5A-0608-CE0C-AF726A08C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1870"/>
              <a:ext cx="476" cy="390"/>
            </a:xfrm>
            <a:custGeom>
              <a:avLst/>
              <a:gdLst>
                <a:gd name="T0" fmla="*/ 0 w 476"/>
                <a:gd name="T1" fmla="*/ 53 h 390"/>
                <a:gd name="T2" fmla="*/ 476 w 476"/>
                <a:gd name="T3" fmla="*/ 390 h 390"/>
                <a:gd name="T4" fmla="*/ 476 w 476"/>
                <a:gd name="T5" fmla="*/ 337 h 390"/>
                <a:gd name="T6" fmla="*/ 0 w 476"/>
                <a:gd name="T7" fmla="*/ 0 h 390"/>
                <a:gd name="T8" fmla="*/ 0 w 476"/>
                <a:gd name="T9" fmla="*/ 53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90">
                  <a:moveTo>
                    <a:pt x="0" y="53"/>
                  </a:moveTo>
                  <a:lnTo>
                    <a:pt x="476" y="390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1" name="Freeform 1072">
              <a:extLst>
                <a:ext uri="{FF2B5EF4-FFF2-40B4-BE49-F238E27FC236}">
                  <a16:creationId xmlns:a16="http://schemas.microsoft.com/office/drawing/2014/main" id="{5C101ADD-CB89-AC5D-AE84-05A78A1E0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1956"/>
              <a:ext cx="1676" cy="304"/>
            </a:xfrm>
            <a:custGeom>
              <a:avLst/>
              <a:gdLst>
                <a:gd name="T0" fmla="*/ 1676 w 1676"/>
                <a:gd name="T1" fmla="*/ 52 h 304"/>
                <a:gd name="T2" fmla="*/ 0 w 1676"/>
                <a:gd name="T3" fmla="*/ 304 h 304"/>
                <a:gd name="T4" fmla="*/ 0 w 1676"/>
                <a:gd name="T5" fmla="*/ 251 h 304"/>
                <a:gd name="T6" fmla="*/ 1676 w 1676"/>
                <a:gd name="T7" fmla="*/ 0 h 304"/>
                <a:gd name="T8" fmla="*/ 1676 w 1676"/>
                <a:gd name="T9" fmla="*/ 5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4">
                  <a:moveTo>
                    <a:pt x="1676" y="52"/>
                  </a:moveTo>
                  <a:lnTo>
                    <a:pt x="0" y="304"/>
                  </a:lnTo>
                  <a:lnTo>
                    <a:pt x="0" y="251"/>
                  </a:lnTo>
                  <a:lnTo>
                    <a:pt x="1676" y="0"/>
                  </a:lnTo>
                  <a:lnTo>
                    <a:pt x="1676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2" name="Freeform 1073">
              <a:extLst>
                <a:ext uri="{FF2B5EF4-FFF2-40B4-BE49-F238E27FC236}">
                  <a16:creationId xmlns:a16="http://schemas.microsoft.com/office/drawing/2014/main" id="{497A2181-F10C-0269-B9BB-0523325C6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552"/>
              <a:ext cx="2017" cy="541"/>
            </a:xfrm>
            <a:custGeom>
              <a:avLst/>
              <a:gdLst>
                <a:gd name="T0" fmla="*/ 2017 w 2017"/>
                <a:gd name="T1" fmla="*/ 302 h 541"/>
                <a:gd name="T2" fmla="*/ 426 w 2017"/>
                <a:gd name="T3" fmla="*/ 541 h 541"/>
                <a:gd name="T4" fmla="*/ 0 w 2017"/>
                <a:gd name="T5" fmla="*/ 240 h 541"/>
                <a:gd name="T6" fmla="*/ 1590 w 2017"/>
                <a:gd name="T7" fmla="*/ 0 h 541"/>
                <a:gd name="T8" fmla="*/ 2017 w 2017"/>
                <a:gd name="T9" fmla="*/ 30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7" h="541">
                  <a:moveTo>
                    <a:pt x="2017" y="302"/>
                  </a:moveTo>
                  <a:lnTo>
                    <a:pt x="426" y="541"/>
                  </a:lnTo>
                  <a:lnTo>
                    <a:pt x="0" y="240"/>
                  </a:lnTo>
                  <a:lnTo>
                    <a:pt x="1590" y="0"/>
                  </a:lnTo>
                  <a:lnTo>
                    <a:pt x="2017" y="302"/>
                  </a:lnTo>
                  <a:close/>
                </a:path>
              </a:pathLst>
            </a:custGeom>
            <a:solidFill>
              <a:srgbClr val="7AB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3" name="Freeform 1074">
              <a:extLst>
                <a:ext uri="{FF2B5EF4-FFF2-40B4-BE49-F238E27FC236}">
                  <a16:creationId xmlns:a16="http://schemas.microsoft.com/office/drawing/2014/main" id="{9B0CEC7C-F0B5-6569-442D-797D4C027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1668"/>
              <a:ext cx="830" cy="309"/>
            </a:xfrm>
            <a:custGeom>
              <a:avLst/>
              <a:gdLst>
                <a:gd name="T0" fmla="*/ 308 w 350"/>
                <a:gd name="T1" fmla="*/ 45 h 130"/>
                <a:gd name="T2" fmla="*/ 252 w 350"/>
                <a:gd name="T3" fmla="*/ 119 h 130"/>
                <a:gd name="T4" fmla="*/ 43 w 350"/>
                <a:gd name="T5" fmla="*/ 85 h 130"/>
                <a:gd name="T6" fmla="*/ 99 w 350"/>
                <a:gd name="T7" fmla="*/ 11 h 130"/>
                <a:gd name="T8" fmla="*/ 308 w 350"/>
                <a:gd name="T9" fmla="*/ 4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130">
                  <a:moveTo>
                    <a:pt x="308" y="45"/>
                  </a:moveTo>
                  <a:cubicBezTo>
                    <a:pt x="350" y="75"/>
                    <a:pt x="325" y="108"/>
                    <a:pt x="252" y="119"/>
                  </a:cubicBezTo>
                  <a:cubicBezTo>
                    <a:pt x="179" y="130"/>
                    <a:pt x="85" y="115"/>
                    <a:pt x="43" y="85"/>
                  </a:cubicBezTo>
                  <a:cubicBezTo>
                    <a:pt x="0" y="55"/>
                    <a:pt x="25" y="22"/>
                    <a:pt x="99" y="11"/>
                  </a:cubicBezTo>
                  <a:cubicBezTo>
                    <a:pt x="172" y="0"/>
                    <a:pt x="265" y="15"/>
                    <a:pt x="308" y="4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4" name="Freeform 1075">
              <a:extLst>
                <a:ext uri="{FF2B5EF4-FFF2-40B4-BE49-F238E27FC236}">
                  <a16:creationId xmlns:a16="http://schemas.microsoft.com/office/drawing/2014/main" id="{4061889E-C237-882D-4A8A-7119781DE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4" y="1528"/>
              <a:ext cx="2152" cy="589"/>
            </a:xfrm>
            <a:custGeom>
              <a:avLst/>
              <a:gdLst>
                <a:gd name="T0" fmla="*/ 0 w 908"/>
                <a:gd name="T1" fmla="*/ 106 h 248"/>
                <a:gd name="T2" fmla="*/ 201 w 908"/>
                <a:gd name="T3" fmla="*/ 248 h 248"/>
                <a:gd name="T4" fmla="*/ 908 w 908"/>
                <a:gd name="T5" fmla="*/ 142 h 248"/>
                <a:gd name="T6" fmla="*/ 707 w 908"/>
                <a:gd name="T7" fmla="*/ 0 h 248"/>
                <a:gd name="T8" fmla="*/ 0 w 908"/>
                <a:gd name="T9" fmla="*/ 106 h 248"/>
                <a:gd name="T10" fmla="*/ 833 w 908"/>
                <a:gd name="T11" fmla="*/ 104 h 248"/>
                <a:gd name="T12" fmla="*/ 799 w 908"/>
                <a:gd name="T13" fmla="*/ 149 h 248"/>
                <a:gd name="T14" fmla="*/ 289 w 908"/>
                <a:gd name="T15" fmla="*/ 226 h 248"/>
                <a:gd name="T16" fmla="*/ 162 w 908"/>
                <a:gd name="T17" fmla="*/ 205 h 248"/>
                <a:gd name="T18" fmla="*/ 76 w 908"/>
                <a:gd name="T19" fmla="*/ 144 h 248"/>
                <a:gd name="T20" fmla="*/ 109 w 908"/>
                <a:gd name="T21" fmla="*/ 99 h 248"/>
                <a:gd name="T22" fmla="*/ 619 w 908"/>
                <a:gd name="T23" fmla="*/ 22 h 248"/>
                <a:gd name="T24" fmla="*/ 746 w 908"/>
                <a:gd name="T25" fmla="*/ 43 h 248"/>
                <a:gd name="T26" fmla="*/ 833 w 908"/>
                <a:gd name="T27" fmla="*/ 10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8" h="248">
                  <a:moveTo>
                    <a:pt x="0" y="106"/>
                  </a:moveTo>
                  <a:cubicBezTo>
                    <a:pt x="201" y="248"/>
                    <a:pt x="201" y="248"/>
                    <a:pt x="201" y="248"/>
                  </a:cubicBezTo>
                  <a:cubicBezTo>
                    <a:pt x="908" y="142"/>
                    <a:pt x="908" y="142"/>
                    <a:pt x="908" y="142"/>
                  </a:cubicBezTo>
                  <a:cubicBezTo>
                    <a:pt x="707" y="0"/>
                    <a:pt x="707" y="0"/>
                    <a:pt x="707" y="0"/>
                  </a:cubicBezTo>
                  <a:lnTo>
                    <a:pt x="0" y="106"/>
                  </a:lnTo>
                  <a:close/>
                  <a:moveTo>
                    <a:pt x="833" y="104"/>
                  </a:moveTo>
                  <a:cubicBezTo>
                    <a:pt x="797" y="113"/>
                    <a:pt x="783" y="131"/>
                    <a:pt x="799" y="149"/>
                  </a:cubicBezTo>
                  <a:cubicBezTo>
                    <a:pt x="289" y="226"/>
                    <a:pt x="289" y="226"/>
                    <a:pt x="289" y="226"/>
                  </a:cubicBezTo>
                  <a:cubicBezTo>
                    <a:pt x="258" y="210"/>
                    <a:pt x="207" y="202"/>
                    <a:pt x="162" y="205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112" y="135"/>
                    <a:pt x="125" y="117"/>
                    <a:pt x="109" y="99"/>
                  </a:cubicBezTo>
                  <a:cubicBezTo>
                    <a:pt x="619" y="22"/>
                    <a:pt x="619" y="22"/>
                    <a:pt x="619" y="22"/>
                  </a:cubicBezTo>
                  <a:cubicBezTo>
                    <a:pt x="650" y="38"/>
                    <a:pt x="701" y="46"/>
                    <a:pt x="746" y="43"/>
                  </a:cubicBezTo>
                  <a:lnTo>
                    <a:pt x="833" y="104"/>
                  </a:ln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5" name="Freeform 1076">
              <a:extLst>
                <a:ext uri="{FF2B5EF4-FFF2-40B4-BE49-F238E27FC236}">
                  <a16:creationId xmlns:a16="http://schemas.microsoft.com/office/drawing/2014/main" id="{A59E6063-8365-1EAB-CFFA-9D4F5526E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1856"/>
              <a:ext cx="277" cy="105"/>
            </a:xfrm>
            <a:custGeom>
              <a:avLst/>
              <a:gdLst>
                <a:gd name="T0" fmla="*/ 102 w 117"/>
                <a:gd name="T1" fmla="*/ 15 h 44"/>
                <a:gd name="T2" fmla="*/ 84 w 117"/>
                <a:gd name="T3" fmla="*/ 40 h 44"/>
                <a:gd name="T4" fmla="*/ 14 w 117"/>
                <a:gd name="T5" fmla="*/ 28 h 44"/>
                <a:gd name="T6" fmla="*/ 33 w 117"/>
                <a:gd name="T7" fmla="*/ 4 h 44"/>
                <a:gd name="T8" fmla="*/ 102 w 117"/>
                <a:gd name="T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4">
                  <a:moveTo>
                    <a:pt x="102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59" y="44"/>
                    <a:pt x="28" y="38"/>
                    <a:pt x="14" y="28"/>
                  </a:cubicBezTo>
                  <a:cubicBezTo>
                    <a:pt x="0" y="18"/>
                    <a:pt x="8" y="7"/>
                    <a:pt x="33" y="4"/>
                  </a:cubicBezTo>
                  <a:cubicBezTo>
                    <a:pt x="57" y="0"/>
                    <a:pt x="88" y="5"/>
                    <a:pt x="102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6" name="Freeform 1077">
              <a:extLst>
                <a:ext uri="{FF2B5EF4-FFF2-40B4-BE49-F238E27FC236}">
                  <a16:creationId xmlns:a16="http://schemas.microsoft.com/office/drawing/2014/main" id="{FDE70022-6193-3B4B-3402-D5364BD6B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687"/>
              <a:ext cx="278" cy="103"/>
            </a:xfrm>
            <a:custGeom>
              <a:avLst/>
              <a:gdLst>
                <a:gd name="T0" fmla="*/ 103 w 117"/>
                <a:gd name="T1" fmla="*/ 15 h 43"/>
                <a:gd name="T2" fmla="*/ 84 w 117"/>
                <a:gd name="T3" fmla="*/ 40 h 43"/>
                <a:gd name="T4" fmla="*/ 14 w 117"/>
                <a:gd name="T5" fmla="*/ 28 h 43"/>
                <a:gd name="T6" fmla="*/ 33 w 117"/>
                <a:gd name="T7" fmla="*/ 3 h 43"/>
                <a:gd name="T8" fmla="*/ 103 w 117"/>
                <a:gd name="T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3">
                  <a:moveTo>
                    <a:pt x="103" y="15"/>
                  </a:moveTo>
                  <a:cubicBezTo>
                    <a:pt x="117" y="25"/>
                    <a:pt x="108" y="36"/>
                    <a:pt x="84" y="40"/>
                  </a:cubicBezTo>
                  <a:cubicBezTo>
                    <a:pt x="60" y="43"/>
                    <a:pt x="28" y="38"/>
                    <a:pt x="14" y="28"/>
                  </a:cubicBezTo>
                  <a:cubicBezTo>
                    <a:pt x="0" y="18"/>
                    <a:pt x="8" y="7"/>
                    <a:pt x="33" y="3"/>
                  </a:cubicBezTo>
                  <a:cubicBezTo>
                    <a:pt x="57" y="0"/>
                    <a:pt x="88" y="5"/>
                    <a:pt x="103" y="15"/>
                  </a:cubicBezTo>
                  <a:close/>
                </a:path>
              </a:pathLst>
            </a:custGeom>
            <a:solidFill>
              <a:srgbClr val="1D9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7" name="Freeform 1078">
              <a:extLst>
                <a:ext uri="{FF2B5EF4-FFF2-40B4-BE49-F238E27FC236}">
                  <a16:creationId xmlns:a16="http://schemas.microsoft.com/office/drawing/2014/main" id="{C6DC730E-4954-62B4-1569-9A1C6EC36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1780"/>
              <a:ext cx="476" cy="389"/>
            </a:xfrm>
            <a:custGeom>
              <a:avLst/>
              <a:gdLst>
                <a:gd name="T0" fmla="*/ 0 w 476"/>
                <a:gd name="T1" fmla="*/ 52 h 389"/>
                <a:gd name="T2" fmla="*/ 476 w 476"/>
                <a:gd name="T3" fmla="*/ 389 h 389"/>
                <a:gd name="T4" fmla="*/ 476 w 476"/>
                <a:gd name="T5" fmla="*/ 337 h 389"/>
                <a:gd name="T6" fmla="*/ 0 w 476"/>
                <a:gd name="T7" fmla="*/ 0 h 389"/>
                <a:gd name="T8" fmla="*/ 0 w 476"/>
                <a:gd name="T9" fmla="*/ 52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389">
                  <a:moveTo>
                    <a:pt x="0" y="52"/>
                  </a:moveTo>
                  <a:lnTo>
                    <a:pt x="476" y="389"/>
                  </a:lnTo>
                  <a:lnTo>
                    <a:pt x="476" y="337"/>
                  </a:lnTo>
                  <a:lnTo>
                    <a:pt x="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8" name="Freeform 1079">
              <a:extLst>
                <a:ext uri="{FF2B5EF4-FFF2-40B4-BE49-F238E27FC236}">
                  <a16:creationId xmlns:a16="http://schemas.microsoft.com/office/drawing/2014/main" id="{5D80DA50-9E23-3DB5-3C60-0A77A9230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" y="1866"/>
              <a:ext cx="1676" cy="303"/>
            </a:xfrm>
            <a:custGeom>
              <a:avLst/>
              <a:gdLst>
                <a:gd name="T0" fmla="*/ 1676 w 1676"/>
                <a:gd name="T1" fmla="*/ 52 h 303"/>
                <a:gd name="T2" fmla="*/ 0 w 1676"/>
                <a:gd name="T3" fmla="*/ 303 h 303"/>
                <a:gd name="T4" fmla="*/ 0 w 1676"/>
                <a:gd name="T5" fmla="*/ 251 h 303"/>
                <a:gd name="T6" fmla="*/ 1676 w 1676"/>
                <a:gd name="T7" fmla="*/ 0 h 303"/>
                <a:gd name="T8" fmla="*/ 1676 w 1676"/>
                <a:gd name="T9" fmla="*/ 52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6" h="303">
                  <a:moveTo>
                    <a:pt x="1676" y="52"/>
                  </a:moveTo>
                  <a:lnTo>
                    <a:pt x="0" y="303"/>
                  </a:lnTo>
                  <a:lnTo>
                    <a:pt x="0" y="251"/>
                  </a:lnTo>
                  <a:lnTo>
                    <a:pt x="1676" y="0"/>
                  </a:lnTo>
                  <a:lnTo>
                    <a:pt x="1676" y="52"/>
                  </a:lnTo>
                  <a:close/>
                </a:path>
              </a:pathLst>
            </a:custGeom>
            <a:solidFill>
              <a:srgbClr val="1F7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69" name="Freeform 1080">
              <a:extLst>
                <a:ext uri="{FF2B5EF4-FFF2-40B4-BE49-F238E27FC236}">
                  <a16:creationId xmlns:a16="http://schemas.microsoft.com/office/drawing/2014/main" id="{3665B4C7-29F7-4103-D362-428C09880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" y="1963"/>
              <a:ext cx="391" cy="736"/>
            </a:xfrm>
            <a:custGeom>
              <a:avLst/>
              <a:gdLst>
                <a:gd name="T0" fmla="*/ 0 w 391"/>
                <a:gd name="T1" fmla="*/ 57 h 736"/>
                <a:gd name="T2" fmla="*/ 0 w 391"/>
                <a:gd name="T3" fmla="*/ 736 h 736"/>
                <a:gd name="T4" fmla="*/ 391 w 391"/>
                <a:gd name="T5" fmla="*/ 679 h 736"/>
                <a:gd name="T6" fmla="*/ 391 w 391"/>
                <a:gd name="T7" fmla="*/ 0 h 736"/>
                <a:gd name="T8" fmla="*/ 0 w 391"/>
                <a:gd name="T9" fmla="*/ 57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736">
                  <a:moveTo>
                    <a:pt x="0" y="57"/>
                  </a:moveTo>
                  <a:lnTo>
                    <a:pt x="0" y="736"/>
                  </a:lnTo>
                  <a:lnTo>
                    <a:pt x="391" y="679"/>
                  </a:lnTo>
                  <a:lnTo>
                    <a:pt x="391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E1D7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70" name="Freeform 1081">
              <a:extLst>
                <a:ext uri="{FF2B5EF4-FFF2-40B4-BE49-F238E27FC236}">
                  <a16:creationId xmlns:a16="http://schemas.microsoft.com/office/drawing/2014/main" id="{E90B018E-33BC-C519-AFC3-2D1BDA98C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" y="1626"/>
              <a:ext cx="868" cy="394"/>
            </a:xfrm>
            <a:custGeom>
              <a:avLst/>
              <a:gdLst>
                <a:gd name="T0" fmla="*/ 387 w 868"/>
                <a:gd name="T1" fmla="*/ 0 h 394"/>
                <a:gd name="T2" fmla="*/ 0 w 868"/>
                <a:gd name="T3" fmla="*/ 57 h 394"/>
                <a:gd name="T4" fmla="*/ 477 w 868"/>
                <a:gd name="T5" fmla="*/ 394 h 394"/>
                <a:gd name="T6" fmla="*/ 868 w 868"/>
                <a:gd name="T7" fmla="*/ 337 h 394"/>
                <a:gd name="T8" fmla="*/ 387 w 868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8" h="394">
                  <a:moveTo>
                    <a:pt x="387" y="0"/>
                  </a:moveTo>
                  <a:lnTo>
                    <a:pt x="0" y="57"/>
                  </a:lnTo>
                  <a:lnTo>
                    <a:pt x="477" y="394"/>
                  </a:lnTo>
                  <a:lnTo>
                    <a:pt x="868" y="337"/>
                  </a:lnTo>
                  <a:lnTo>
                    <a:pt x="387" y="0"/>
                  </a:lnTo>
                  <a:close/>
                </a:path>
              </a:pathLst>
            </a:custGeom>
            <a:solidFill>
              <a:srgbClr val="F4EE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71" name="Freeform 1082">
              <a:extLst>
                <a:ext uri="{FF2B5EF4-FFF2-40B4-BE49-F238E27FC236}">
                  <a16:creationId xmlns:a16="http://schemas.microsoft.com/office/drawing/2014/main" id="{80FFCAF7-A4EC-CCDF-5700-ECD52CD29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" y="1626"/>
              <a:ext cx="868" cy="394"/>
            </a:xfrm>
            <a:custGeom>
              <a:avLst/>
              <a:gdLst>
                <a:gd name="T0" fmla="*/ 387 w 868"/>
                <a:gd name="T1" fmla="*/ 0 h 394"/>
                <a:gd name="T2" fmla="*/ 0 w 868"/>
                <a:gd name="T3" fmla="*/ 57 h 394"/>
                <a:gd name="T4" fmla="*/ 477 w 868"/>
                <a:gd name="T5" fmla="*/ 394 h 394"/>
                <a:gd name="T6" fmla="*/ 868 w 868"/>
                <a:gd name="T7" fmla="*/ 33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394">
                  <a:moveTo>
                    <a:pt x="387" y="0"/>
                  </a:moveTo>
                  <a:lnTo>
                    <a:pt x="0" y="57"/>
                  </a:lnTo>
                  <a:lnTo>
                    <a:pt x="477" y="394"/>
                  </a:lnTo>
                  <a:lnTo>
                    <a:pt x="868" y="3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</p:grpSp>
      <p:sp>
        <p:nvSpPr>
          <p:cNvPr id="32172" name="TextBox 32171">
            <a:extLst>
              <a:ext uri="{FF2B5EF4-FFF2-40B4-BE49-F238E27FC236}">
                <a16:creationId xmlns:a16="http://schemas.microsoft.com/office/drawing/2014/main" id="{5AD50D70-BF56-612C-B17D-1A108F92006F}"/>
              </a:ext>
            </a:extLst>
          </p:cNvPr>
          <p:cNvSpPr txBox="1"/>
          <p:nvPr/>
        </p:nvSpPr>
        <p:spPr>
          <a:xfrm>
            <a:off x="998400" y="4617189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l-GR" sz="1500" b="1" dirty="0">
                <a:solidFill>
                  <a:srgbClr val="098E7E"/>
                </a:solidFill>
              </a:rPr>
              <a:t>Προϋπολογισμός</a:t>
            </a:r>
          </a:p>
        </p:txBody>
      </p:sp>
      <p:sp>
        <p:nvSpPr>
          <p:cNvPr id="32173" name="TextBox 32172">
            <a:extLst>
              <a:ext uri="{FF2B5EF4-FFF2-40B4-BE49-F238E27FC236}">
                <a16:creationId xmlns:a16="http://schemas.microsoft.com/office/drawing/2014/main" id="{CB139A99-89A1-9DE3-2CD0-90E5ED06ACB8}"/>
              </a:ext>
            </a:extLst>
          </p:cNvPr>
          <p:cNvSpPr txBox="1"/>
          <p:nvPr/>
        </p:nvSpPr>
        <p:spPr>
          <a:xfrm>
            <a:off x="3289955" y="4400373"/>
            <a:ext cx="2696066" cy="7900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el-GR" sz="1500" b="1" dirty="0">
              <a:solidFill>
                <a:schemeClr val="tx2"/>
              </a:solidFill>
            </a:endParaRPr>
          </a:p>
        </p:txBody>
      </p:sp>
      <p:sp>
        <p:nvSpPr>
          <p:cNvPr id="32174" name="TextBox 32173">
            <a:extLst>
              <a:ext uri="{FF2B5EF4-FFF2-40B4-BE49-F238E27FC236}">
                <a16:creationId xmlns:a16="http://schemas.microsoft.com/office/drawing/2014/main" id="{1CC10D77-A529-2708-6A54-B4CBC8962861}"/>
              </a:ext>
            </a:extLst>
          </p:cNvPr>
          <p:cNvSpPr txBox="1"/>
          <p:nvPr/>
        </p:nvSpPr>
        <p:spPr>
          <a:xfrm>
            <a:off x="2334151" y="5113916"/>
            <a:ext cx="5760218" cy="4634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l-GR" sz="2800" b="1" dirty="0">
                <a:solidFill>
                  <a:schemeClr val="tx2"/>
                </a:solidFill>
              </a:rPr>
              <a:t>€1.158.259,20</a:t>
            </a:r>
          </a:p>
        </p:txBody>
      </p:sp>
      <p:grpSp>
        <p:nvGrpSpPr>
          <p:cNvPr id="32175" name="Group 32174">
            <a:extLst>
              <a:ext uri="{FF2B5EF4-FFF2-40B4-BE49-F238E27FC236}">
                <a16:creationId xmlns:a16="http://schemas.microsoft.com/office/drawing/2014/main" id="{B2415FC5-46D8-FFC4-5CA8-28C785E40894}"/>
              </a:ext>
            </a:extLst>
          </p:cNvPr>
          <p:cNvGrpSpPr/>
          <p:nvPr/>
        </p:nvGrpSpPr>
        <p:grpSpPr>
          <a:xfrm>
            <a:off x="998400" y="1836177"/>
            <a:ext cx="946912" cy="807419"/>
            <a:chOff x="6290351" y="2086561"/>
            <a:chExt cx="1320124" cy="1125652"/>
          </a:xfrm>
        </p:grpSpPr>
        <p:sp>
          <p:nvSpPr>
            <p:cNvPr id="32176" name="Rectangle 305">
              <a:extLst>
                <a:ext uri="{FF2B5EF4-FFF2-40B4-BE49-F238E27FC236}">
                  <a16:creationId xmlns:a16="http://schemas.microsoft.com/office/drawing/2014/main" id="{A5BC9EA5-9ABB-AFB9-5809-4617E5A34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1057" y="2438899"/>
              <a:ext cx="1026128" cy="600576"/>
            </a:xfrm>
            <a:prstGeom prst="rect">
              <a:avLst/>
            </a:prstGeom>
            <a:solidFill>
              <a:srgbClr val="B8C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77" name="Freeform 306">
              <a:extLst>
                <a:ext uri="{FF2B5EF4-FFF2-40B4-BE49-F238E27FC236}">
                  <a16:creationId xmlns:a16="http://schemas.microsoft.com/office/drawing/2014/main" id="{3642F094-4AF6-D905-DEAF-573333911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397" y="2086561"/>
              <a:ext cx="1211449" cy="352338"/>
            </a:xfrm>
            <a:custGeom>
              <a:avLst/>
              <a:gdLst>
                <a:gd name="T0" fmla="*/ 0 w 1059"/>
                <a:gd name="T1" fmla="*/ 260 h 308"/>
                <a:gd name="T2" fmla="*/ 529 w 1059"/>
                <a:gd name="T3" fmla="*/ 0 h 308"/>
                <a:gd name="T4" fmla="*/ 1059 w 1059"/>
                <a:gd name="T5" fmla="*/ 260 h 308"/>
                <a:gd name="T6" fmla="*/ 1059 w 1059"/>
                <a:gd name="T7" fmla="*/ 308 h 308"/>
                <a:gd name="T8" fmla="*/ 0 w 1059"/>
                <a:gd name="T9" fmla="*/ 308 h 308"/>
                <a:gd name="T10" fmla="*/ 0 w 1059"/>
                <a:gd name="T11" fmla="*/ 26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9" h="308">
                  <a:moveTo>
                    <a:pt x="0" y="260"/>
                  </a:moveTo>
                  <a:lnTo>
                    <a:pt x="529" y="0"/>
                  </a:lnTo>
                  <a:lnTo>
                    <a:pt x="1059" y="260"/>
                  </a:lnTo>
                  <a:lnTo>
                    <a:pt x="1059" y="308"/>
                  </a:lnTo>
                  <a:lnTo>
                    <a:pt x="0" y="308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78" name="Freeform 307">
              <a:extLst>
                <a:ext uri="{FF2B5EF4-FFF2-40B4-BE49-F238E27FC236}">
                  <a16:creationId xmlns:a16="http://schemas.microsoft.com/office/drawing/2014/main" id="{2E62674E-9367-B678-728B-1660B8883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140" y="2118592"/>
              <a:ext cx="1151963" cy="290565"/>
            </a:xfrm>
            <a:custGeom>
              <a:avLst/>
              <a:gdLst>
                <a:gd name="T0" fmla="*/ 0 w 1007"/>
                <a:gd name="T1" fmla="*/ 254 h 254"/>
                <a:gd name="T2" fmla="*/ 0 w 1007"/>
                <a:gd name="T3" fmla="*/ 248 h 254"/>
                <a:gd name="T4" fmla="*/ 503 w 1007"/>
                <a:gd name="T5" fmla="*/ 0 h 254"/>
                <a:gd name="T6" fmla="*/ 1007 w 1007"/>
                <a:gd name="T7" fmla="*/ 248 h 254"/>
                <a:gd name="T8" fmla="*/ 1007 w 1007"/>
                <a:gd name="T9" fmla="*/ 254 h 254"/>
                <a:gd name="T10" fmla="*/ 0 w 1007"/>
                <a:gd name="T11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7" h="254">
                  <a:moveTo>
                    <a:pt x="0" y="254"/>
                  </a:moveTo>
                  <a:lnTo>
                    <a:pt x="0" y="248"/>
                  </a:lnTo>
                  <a:lnTo>
                    <a:pt x="503" y="0"/>
                  </a:lnTo>
                  <a:lnTo>
                    <a:pt x="1007" y="248"/>
                  </a:lnTo>
                  <a:lnTo>
                    <a:pt x="1007" y="254"/>
                  </a:lnTo>
                  <a:lnTo>
                    <a:pt x="0" y="254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79" name="Rectangle 308">
              <a:extLst>
                <a:ext uri="{FF2B5EF4-FFF2-40B4-BE49-F238E27FC236}">
                  <a16:creationId xmlns:a16="http://schemas.microsoft.com/office/drawing/2014/main" id="{05681C77-3448-C130-79A5-39A637F234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6481" y="2451483"/>
              <a:ext cx="69781" cy="343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0" name="Rectangle 309">
              <a:extLst>
                <a:ext uri="{FF2B5EF4-FFF2-40B4-BE49-F238E27FC236}">
                  <a16:creationId xmlns:a16="http://schemas.microsoft.com/office/drawing/2014/main" id="{273CC062-3C07-5223-31E2-DD43044B1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3898" y="2436611"/>
              <a:ext cx="122403" cy="5262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1" name="Rectangle 310">
              <a:extLst>
                <a:ext uri="{FF2B5EF4-FFF2-40B4-BE49-F238E27FC236}">
                  <a16:creationId xmlns:a16="http://schemas.microsoft.com/office/drawing/2014/main" id="{A7F79202-1EAB-F396-F06D-173D04AD0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3898" y="2436611"/>
              <a:ext cx="122403" cy="27455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2" name="Rectangle 311">
              <a:extLst>
                <a:ext uri="{FF2B5EF4-FFF2-40B4-BE49-F238E27FC236}">
                  <a16:creationId xmlns:a16="http://schemas.microsoft.com/office/drawing/2014/main" id="{C6CC6816-BA04-8F96-C8AE-4319F505F5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3898" y="2935376"/>
              <a:ext cx="122403" cy="27455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3" name="Rectangle 312">
              <a:extLst>
                <a:ext uri="{FF2B5EF4-FFF2-40B4-BE49-F238E27FC236}">
                  <a16:creationId xmlns:a16="http://schemas.microsoft.com/office/drawing/2014/main" id="{3CE12142-02FD-56AF-14F3-080FA9C11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1057" y="2438899"/>
              <a:ext cx="88085" cy="600576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4" name="Oval 313">
              <a:extLst>
                <a:ext uri="{FF2B5EF4-FFF2-40B4-BE49-F238E27FC236}">
                  <a16:creationId xmlns:a16="http://schemas.microsoft.com/office/drawing/2014/main" id="{9769D651-7192-C117-9A5D-9DBA14907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846" y="2436611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5" name="Oval 314">
              <a:extLst>
                <a:ext uri="{FF2B5EF4-FFF2-40B4-BE49-F238E27FC236}">
                  <a16:creationId xmlns:a16="http://schemas.microsoft.com/office/drawing/2014/main" id="{A9CE307F-97DD-1DA0-E462-D86F1CCB8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9142" y="2446907"/>
              <a:ext cx="32031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6" name="Oval 315">
              <a:extLst>
                <a:ext uri="{FF2B5EF4-FFF2-40B4-BE49-F238E27FC236}">
                  <a16:creationId xmlns:a16="http://schemas.microsoft.com/office/drawing/2014/main" id="{EE92A5F3-B3A3-0150-0E5E-8932662416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8731" y="2436611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7" name="Oval 316">
              <a:extLst>
                <a:ext uri="{FF2B5EF4-FFF2-40B4-BE49-F238E27FC236}">
                  <a16:creationId xmlns:a16="http://schemas.microsoft.com/office/drawing/2014/main" id="{CB974B02-4E9C-FC7A-4B40-518132480C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0170" y="2446907"/>
              <a:ext cx="30887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8" name="Rectangle 317">
              <a:extLst>
                <a:ext uri="{FF2B5EF4-FFF2-40B4-BE49-F238E27FC236}">
                  <a16:creationId xmlns:a16="http://schemas.microsoft.com/office/drawing/2014/main" id="{8011F2B9-8856-46D8-BB33-08B35C211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2792" y="2466354"/>
              <a:ext cx="45758" cy="343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89" name="Rectangle 318">
              <a:extLst>
                <a:ext uri="{FF2B5EF4-FFF2-40B4-BE49-F238E27FC236}">
                  <a16:creationId xmlns:a16="http://schemas.microsoft.com/office/drawing/2014/main" id="{7E67253D-C1C1-C916-3564-72A3E3ED91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1353" y="2449195"/>
              <a:ext cx="67493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0" name="Freeform 319">
              <a:extLst>
                <a:ext uri="{FF2B5EF4-FFF2-40B4-BE49-F238E27FC236}">
                  <a16:creationId xmlns:a16="http://schemas.microsoft.com/office/drawing/2014/main" id="{45384D3B-3E72-A2C0-7B80-D2B0549AC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3602" y="2982278"/>
              <a:ext cx="147570" cy="18303"/>
            </a:xfrm>
            <a:custGeom>
              <a:avLst/>
              <a:gdLst>
                <a:gd name="T0" fmla="*/ 120 w 129"/>
                <a:gd name="T1" fmla="*/ 0 h 16"/>
                <a:gd name="T2" fmla="*/ 9 w 129"/>
                <a:gd name="T3" fmla="*/ 0 h 16"/>
                <a:gd name="T4" fmla="*/ 0 w 129"/>
                <a:gd name="T5" fmla="*/ 16 h 16"/>
                <a:gd name="T6" fmla="*/ 129 w 129"/>
                <a:gd name="T7" fmla="*/ 16 h 16"/>
                <a:gd name="T8" fmla="*/ 120 w 12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6">
                  <a:moveTo>
                    <a:pt x="120" y="0"/>
                  </a:moveTo>
                  <a:lnTo>
                    <a:pt x="9" y="0"/>
                  </a:lnTo>
                  <a:lnTo>
                    <a:pt x="0" y="16"/>
                  </a:lnTo>
                  <a:lnTo>
                    <a:pt x="129" y="16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1" name="Freeform 320">
              <a:extLst>
                <a:ext uri="{FF2B5EF4-FFF2-40B4-BE49-F238E27FC236}">
                  <a16:creationId xmlns:a16="http://schemas.microsoft.com/office/drawing/2014/main" id="{1E6DA18B-4A18-3F0A-46E8-8228E736C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3859" y="2997149"/>
              <a:ext cx="202480" cy="22879"/>
            </a:xfrm>
            <a:custGeom>
              <a:avLst/>
              <a:gdLst>
                <a:gd name="T0" fmla="*/ 162 w 177"/>
                <a:gd name="T1" fmla="*/ 0 h 20"/>
                <a:gd name="T2" fmla="*/ 19 w 177"/>
                <a:gd name="T3" fmla="*/ 0 h 20"/>
                <a:gd name="T4" fmla="*/ 0 w 177"/>
                <a:gd name="T5" fmla="*/ 20 h 20"/>
                <a:gd name="T6" fmla="*/ 177 w 177"/>
                <a:gd name="T7" fmla="*/ 20 h 20"/>
                <a:gd name="T8" fmla="*/ 162 w 177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0">
                  <a:moveTo>
                    <a:pt x="162" y="0"/>
                  </a:moveTo>
                  <a:lnTo>
                    <a:pt x="19" y="0"/>
                  </a:lnTo>
                  <a:lnTo>
                    <a:pt x="0" y="20"/>
                  </a:lnTo>
                  <a:lnTo>
                    <a:pt x="177" y="20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44" name="Rectangle 321">
              <a:extLst>
                <a:ext uri="{FF2B5EF4-FFF2-40B4-BE49-F238E27FC236}">
                  <a16:creationId xmlns:a16="http://schemas.microsoft.com/office/drawing/2014/main" id="{59ADACAC-53C2-654D-29E8-BB76EA97B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3898" y="2962831"/>
              <a:ext cx="122403" cy="25167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45" name="Oval 322">
              <a:extLst>
                <a:ext uri="{FF2B5EF4-FFF2-40B4-BE49-F238E27FC236}">
                  <a16:creationId xmlns:a16="http://schemas.microsoft.com/office/drawing/2014/main" id="{C9144BB9-1C3A-C499-DDD9-4CCA8E035E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846" y="2935376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47" name="Oval 323">
              <a:extLst>
                <a:ext uri="{FF2B5EF4-FFF2-40B4-BE49-F238E27FC236}">
                  <a16:creationId xmlns:a16="http://schemas.microsoft.com/office/drawing/2014/main" id="{0281B21A-8179-7166-E733-5BEDF34E0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9142" y="2946815"/>
              <a:ext cx="32031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48" name="Oval 324">
              <a:extLst>
                <a:ext uri="{FF2B5EF4-FFF2-40B4-BE49-F238E27FC236}">
                  <a16:creationId xmlns:a16="http://schemas.microsoft.com/office/drawing/2014/main" id="{0EBD645D-ACD0-4653-91F8-D7838C0F8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8731" y="2935376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49" name="Oval 325">
              <a:extLst>
                <a:ext uri="{FF2B5EF4-FFF2-40B4-BE49-F238E27FC236}">
                  <a16:creationId xmlns:a16="http://schemas.microsoft.com/office/drawing/2014/main" id="{4621AE3B-4494-EAD3-C8F2-A756554C7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0170" y="2946815"/>
              <a:ext cx="30887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0" name="Rectangle 326">
              <a:extLst>
                <a:ext uri="{FF2B5EF4-FFF2-40B4-BE49-F238E27FC236}">
                  <a16:creationId xmlns:a16="http://schemas.microsoft.com/office/drawing/2014/main" id="{B7B0725D-3955-0B1B-D496-B5B3E864D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1353" y="2969694"/>
              <a:ext cx="67493" cy="5720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1" name="Rectangle 327">
              <a:extLst>
                <a:ext uri="{FF2B5EF4-FFF2-40B4-BE49-F238E27FC236}">
                  <a16:creationId xmlns:a16="http://schemas.microsoft.com/office/drawing/2014/main" id="{CE511E47-6CFE-1C90-A3A7-E64244B3F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2792" y="2954823"/>
              <a:ext cx="45758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2" name="Freeform 328">
              <a:extLst>
                <a:ext uri="{FF2B5EF4-FFF2-40B4-BE49-F238E27FC236}">
                  <a16:creationId xmlns:a16="http://schemas.microsoft.com/office/drawing/2014/main" id="{8683379E-B37F-2649-1FAD-D41069267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276" y="3013165"/>
              <a:ext cx="227647" cy="26311"/>
            </a:xfrm>
            <a:custGeom>
              <a:avLst/>
              <a:gdLst>
                <a:gd name="T0" fmla="*/ 0 w 108"/>
                <a:gd name="T1" fmla="*/ 12 h 12"/>
                <a:gd name="T2" fmla="*/ 108 w 108"/>
                <a:gd name="T3" fmla="*/ 12 h 12"/>
                <a:gd name="T4" fmla="*/ 108 w 108"/>
                <a:gd name="T5" fmla="*/ 3 h 12"/>
                <a:gd name="T6" fmla="*/ 105 w 108"/>
                <a:gd name="T7" fmla="*/ 0 h 12"/>
                <a:gd name="T8" fmla="*/ 3 w 108"/>
                <a:gd name="T9" fmla="*/ 0 h 12"/>
                <a:gd name="T10" fmla="*/ 0 w 108"/>
                <a:gd name="T11" fmla="*/ 3 h 12"/>
                <a:gd name="T12" fmla="*/ 0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0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1"/>
                    <a:pt x="107" y="0"/>
                    <a:pt x="10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3" name="Rectangle 329">
              <a:extLst>
                <a:ext uri="{FF2B5EF4-FFF2-40B4-BE49-F238E27FC236}">
                  <a16:creationId xmlns:a16="http://schemas.microsoft.com/office/drawing/2014/main" id="{B82134D9-A213-F498-24CE-80EB731DE7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8486" y="2436611"/>
              <a:ext cx="120115" cy="5262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4" name="Rectangle 330">
              <a:extLst>
                <a:ext uri="{FF2B5EF4-FFF2-40B4-BE49-F238E27FC236}">
                  <a16:creationId xmlns:a16="http://schemas.microsoft.com/office/drawing/2014/main" id="{008EA036-54A3-D6EB-84ED-6FE9F90C1F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8486" y="2436611"/>
              <a:ext cx="120115" cy="27455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5" name="Rectangle 331">
              <a:extLst>
                <a:ext uri="{FF2B5EF4-FFF2-40B4-BE49-F238E27FC236}">
                  <a16:creationId xmlns:a16="http://schemas.microsoft.com/office/drawing/2014/main" id="{30EF8A3E-5048-81AE-DDFB-1F78BC320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8486" y="2935376"/>
              <a:ext cx="120115" cy="27455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6" name="Rectangle 332">
              <a:extLst>
                <a:ext uri="{FF2B5EF4-FFF2-40B4-BE49-F238E27FC236}">
                  <a16:creationId xmlns:a16="http://schemas.microsoft.com/office/drawing/2014/main" id="{AA36945C-BE12-2FC8-ACEE-287219F06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357" y="2438899"/>
              <a:ext cx="90372" cy="600576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7" name="Oval 333">
              <a:extLst>
                <a:ext uri="{FF2B5EF4-FFF2-40B4-BE49-F238E27FC236}">
                  <a16:creationId xmlns:a16="http://schemas.microsoft.com/office/drawing/2014/main" id="{69DCCCB9-38D7-DDF3-16C8-14317641D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3434" y="2436611"/>
              <a:ext cx="50334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8" name="Oval 334">
              <a:extLst>
                <a:ext uri="{FF2B5EF4-FFF2-40B4-BE49-F238E27FC236}">
                  <a16:creationId xmlns:a16="http://schemas.microsoft.com/office/drawing/2014/main" id="{B8E697BF-EB78-C6BB-318F-40486A0DCE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3729" y="2446907"/>
              <a:ext cx="29743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59" name="Oval 335">
              <a:extLst>
                <a:ext uri="{FF2B5EF4-FFF2-40B4-BE49-F238E27FC236}">
                  <a16:creationId xmlns:a16="http://schemas.microsoft.com/office/drawing/2014/main" id="{9A54A43E-7166-0D1B-6A99-CD4DDFE1F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1031" y="2436611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0" name="Oval 336">
              <a:extLst>
                <a:ext uri="{FF2B5EF4-FFF2-40B4-BE49-F238E27FC236}">
                  <a16:creationId xmlns:a16="http://schemas.microsoft.com/office/drawing/2014/main" id="{13366903-899A-F755-D8AF-24CB9F8F5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1326" y="2446907"/>
              <a:ext cx="32031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1" name="Rectangle 337">
              <a:extLst>
                <a:ext uri="{FF2B5EF4-FFF2-40B4-BE49-F238E27FC236}">
                  <a16:creationId xmlns:a16="http://schemas.microsoft.com/office/drawing/2014/main" id="{B5C3FE7E-65C8-0569-7E52-CA0727346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948" y="2466354"/>
              <a:ext cx="48046" cy="343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2" name="Rectangle 338">
              <a:extLst>
                <a:ext uri="{FF2B5EF4-FFF2-40B4-BE49-F238E27FC236}">
                  <a16:creationId xmlns:a16="http://schemas.microsoft.com/office/drawing/2014/main" id="{A5E6D848-5E16-E261-3F4E-ED4B19741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653" y="2449195"/>
              <a:ext cx="69781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3" name="Freeform 339">
              <a:extLst>
                <a:ext uri="{FF2B5EF4-FFF2-40B4-BE49-F238E27FC236}">
                  <a16:creationId xmlns:a16="http://schemas.microsoft.com/office/drawing/2014/main" id="{A4177369-DEE9-E03C-EAAA-B8C477BB0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8190" y="2982278"/>
              <a:ext cx="145282" cy="18303"/>
            </a:xfrm>
            <a:custGeom>
              <a:avLst/>
              <a:gdLst>
                <a:gd name="T0" fmla="*/ 117 w 127"/>
                <a:gd name="T1" fmla="*/ 0 h 16"/>
                <a:gd name="T2" fmla="*/ 9 w 127"/>
                <a:gd name="T3" fmla="*/ 0 h 16"/>
                <a:gd name="T4" fmla="*/ 0 w 127"/>
                <a:gd name="T5" fmla="*/ 16 h 16"/>
                <a:gd name="T6" fmla="*/ 127 w 127"/>
                <a:gd name="T7" fmla="*/ 16 h 16"/>
                <a:gd name="T8" fmla="*/ 117 w 1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">
                  <a:moveTo>
                    <a:pt x="117" y="0"/>
                  </a:moveTo>
                  <a:lnTo>
                    <a:pt x="9" y="0"/>
                  </a:lnTo>
                  <a:lnTo>
                    <a:pt x="0" y="16"/>
                  </a:lnTo>
                  <a:lnTo>
                    <a:pt x="127" y="16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4" name="Freeform 340">
              <a:extLst>
                <a:ext uri="{FF2B5EF4-FFF2-40B4-BE49-F238E27FC236}">
                  <a16:creationId xmlns:a16="http://schemas.microsoft.com/office/drawing/2014/main" id="{32B5A407-6E89-682F-0A59-1CF195EFE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8447" y="2997149"/>
              <a:ext cx="200192" cy="22879"/>
            </a:xfrm>
            <a:custGeom>
              <a:avLst/>
              <a:gdLst>
                <a:gd name="T0" fmla="*/ 160 w 175"/>
                <a:gd name="T1" fmla="*/ 0 h 20"/>
                <a:gd name="T2" fmla="*/ 18 w 175"/>
                <a:gd name="T3" fmla="*/ 0 h 20"/>
                <a:gd name="T4" fmla="*/ 0 w 175"/>
                <a:gd name="T5" fmla="*/ 20 h 20"/>
                <a:gd name="T6" fmla="*/ 175 w 175"/>
                <a:gd name="T7" fmla="*/ 20 h 20"/>
                <a:gd name="T8" fmla="*/ 160 w 17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0">
                  <a:moveTo>
                    <a:pt x="160" y="0"/>
                  </a:moveTo>
                  <a:lnTo>
                    <a:pt x="18" y="0"/>
                  </a:lnTo>
                  <a:lnTo>
                    <a:pt x="0" y="20"/>
                  </a:lnTo>
                  <a:lnTo>
                    <a:pt x="175" y="2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5" name="Rectangle 341">
              <a:extLst>
                <a:ext uri="{FF2B5EF4-FFF2-40B4-BE49-F238E27FC236}">
                  <a16:creationId xmlns:a16="http://schemas.microsoft.com/office/drawing/2014/main" id="{8782E0E9-1FA4-4D24-3563-B9FD628A0E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8486" y="2962831"/>
              <a:ext cx="120115" cy="25167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6" name="Oval 342">
              <a:extLst>
                <a:ext uri="{FF2B5EF4-FFF2-40B4-BE49-F238E27FC236}">
                  <a16:creationId xmlns:a16="http://schemas.microsoft.com/office/drawing/2014/main" id="{41A897CF-62FF-263F-A47D-EAD01D848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3434" y="2935376"/>
              <a:ext cx="50334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7" name="Oval 343">
              <a:extLst>
                <a:ext uri="{FF2B5EF4-FFF2-40B4-BE49-F238E27FC236}">
                  <a16:creationId xmlns:a16="http://schemas.microsoft.com/office/drawing/2014/main" id="{0F9F41C6-9B5E-83ED-E575-3E84A06AD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3729" y="2946815"/>
              <a:ext cx="29743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8" name="Oval 344">
              <a:extLst>
                <a:ext uri="{FF2B5EF4-FFF2-40B4-BE49-F238E27FC236}">
                  <a16:creationId xmlns:a16="http://schemas.microsoft.com/office/drawing/2014/main" id="{91080994-43DD-ED43-7FCA-F9C66273A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1031" y="2935376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69" name="Oval 345">
              <a:extLst>
                <a:ext uri="{FF2B5EF4-FFF2-40B4-BE49-F238E27FC236}">
                  <a16:creationId xmlns:a16="http://schemas.microsoft.com/office/drawing/2014/main" id="{53C17117-6281-9E33-2946-F8E3D796A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1326" y="2946815"/>
              <a:ext cx="32031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0" name="Rectangle 346">
              <a:extLst>
                <a:ext uri="{FF2B5EF4-FFF2-40B4-BE49-F238E27FC236}">
                  <a16:creationId xmlns:a16="http://schemas.microsoft.com/office/drawing/2014/main" id="{9DD8FDE5-9057-73D4-570B-68B8B9FB3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653" y="2969694"/>
              <a:ext cx="69781" cy="5720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1" name="Rectangle 347">
              <a:extLst>
                <a:ext uri="{FF2B5EF4-FFF2-40B4-BE49-F238E27FC236}">
                  <a16:creationId xmlns:a16="http://schemas.microsoft.com/office/drawing/2014/main" id="{4CDEAC7F-08BE-3E82-EB90-A3DA952E6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948" y="2954823"/>
              <a:ext cx="48046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2" name="Freeform 348">
              <a:extLst>
                <a:ext uri="{FF2B5EF4-FFF2-40B4-BE49-F238E27FC236}">
                  <a16:creationId xmlns:a16="http://schemas.microsoft.com/office/drawing/2014/main" id="{7EA18CC2-B0BC-7D1D-7C51-9B4281200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864" y="3013165"/>
              <a:ext cx="225359" cy="26311"/>
            </a:xfrm>
            <a:custGeom>
              <a:avLst/>
              <a:gdLst>
                <a:gd name="T0" fmla="*/ 0 w 107"/>
                <a:gd name="T1" fmla="*/ 12 h 12"/>
                <a:gd name="T2" fmla="*/ 107 w 107"/>
                <a:gd name="T3" fmla="*/ 12 h 12"/>
                <a:gd name="T4" fmla="*/ 107 w 107"/>
                <a:gd name="T5" fmla="*/ 3 h 12"/>
                <a:gd name="T6" fmla="*/ 105 w 107"/>
                <a:gd name="T7" fmla="*/ 0 h 12"/>
                <a:gd name="T8" fmla="*/ 2 w 107"/>
                <a:gd name="T9" fmla="*/ 0 h 12"/>
                <a:gd name="T10" fmla="*/ 0 w 107"/>
                <a:gd name="T11" fmla="*/ 3 h 12"/>
                <a:gd name="T12" fmla="*/ 0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0" y="12"/>
                  </a:moveTo>
                  <a:cubicBezTo>
                    <a:pt x="107" y="12"/>
                    <a:pt x="107" y="12"/>
                    <a:pt x="107" y="12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1"/>
                    <a:pt x="106" y="0"/>
                    <a:pt x="10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3" name="Rectangle 349">
              <a:extLst>
                <a:ext uri="{FF2B5EF4-FFF2-40B4-BE49-F238E27FC236}">
                  <a16:creationId xmlns:a16="http://schemas.microsoft.com/office/drawing/2014/main" id="{22299E6F-601C-C93E-7F3A-E589E069E2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9641" y="2436611"/>
              <a:ext cx="120115" cy="5262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4" name="Rectangle 350">
              <a:extLst>
                <a:ext uri="{FF2B5EF4-FFF2-40B4-BE49-F238E27FC236}">
                  <a16:creationId xmlns:a16="http://schemas.microsoft.com/office/drawing/2014/main" id="{3D23EA86-1010-0483-4F28-00E1BA576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9641" y="2436611"/>
              <a:ext cx="120115" cy="27455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5" name="Rectangle 351">
              <a:extLst>
                <a:ext uri="{FF2B5EF4-FFF2-40B4-BE49-F238E27FC236}">
                  <a16:creationId xmlns:a16="http://schemas.microsoft.com/office/drawing/2014/main" id="{8E49CE24-B922-ED80-4A94-1FED0EB5E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9641" y="2935376"/>
              <a:ext cx="120115" cy="27455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6" name="Rectangle 352">
              <a:extLst>
                <a:ext uri="{FF2B5EF4-FFF2-40B4-BE49-F238E27FC236}">
                  <a16:creationId xmlns:a16="http://schemas.microsoft.com/office/drawing/2014/main" id="{86F53A0A-82CA-2B1E-D792-9EEE40741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4513" y="2438899"/>
              <a:ext cx="90372" cy="600576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7" name="Oval 353">
              <a:extLst>
                <a:ext uri="{FF2B5EF4-FFF2-40B4-BE49-F238E27FC236}">
                  <a16:creationId xmlns:a16="http://schemas.microsoft.com/office/drawing/2014/main" id="{F75B0E66-5416-2558-106B-1736414D1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4590" y="2436611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8" name="Oval 354">
              <a:extLst>
                <a:ext uri="{FF2B5EF4-FFF2-40B4-BE49-F238E27FC236}">
                  <a16:creationId xmlns:a16="http://schemas.microsoft.com/office/drawing/2014/main" id="{CA35A222-D0AC-820E-047F-A2E7904988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4885" y="2446907"/>
              <a:ext cx="32031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79" name="Oval 355">
              <a:extLst>
                <a:ext uri="{FF2B5EF4-FFF2-40B4-BE49-F238E27FC236}">
                  <a16:creationId xmlns:a16="http://schemas.microsoft.com/office/drawing/2014/main" id="{66DD27F8-F3F2-53DC-3EB0-85DCA3E14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4474" y="2436611"/>
              <a:ext cx="50334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0" name="Oval 356">
              <a:extLst>
                <a:ext uri="{FF2B5EF4-FFF2-40B4-BE49-F238E27FC236}">
                  <a16:creationId xmlns:a16="http://schemas.microsoft.com/office/drawing/2014/main" id="{92BA4AFF-A280-1A35-1857-2B19B678F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4770" y="2446907"/>
              <a:ext cx="29743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1" name="Rectangle 357">
              <a:extLst>
                <a:ext uri="{FF2B5EF4-FFF2-40B4-BE49-F238E27FC236}">
                  <a16:creationId xmlns:a16="http://schemas.microsoft.com/office/drawing/2014/main" id="{F4DA0C63-743B-6070-A36A-436E1ECA5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5104" y="2466354"/>
              <a:ext cx="49190" cy="343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2" name="Rectangle 358">
              <a:extLst>
                <a:ext uri="{FF2B5EF4-FFF2-40B4-BE49-F238E27FC236}">
                  <a16:creationId xmlns:a16="http://schemas.microsoft.com/office/drawing/2014/main" id="{AE2631A7-A497-474F-F4A2-A45B8AF2AC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808" y="2449195"/>
              <a:ext cx="69781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3" name="Freeform 359">
              <a:extLst>
                <a:ext uri="{FF2B5EF4-FFF2-40B4-BE49-F238E27FC236}">
                  <a16:creationId xmlns:a16="http://schemas.microsoft.com/office/drawing/2014/main" id="{9DCF8E5B-87A9-8C1A-F0D6-EFFF3FCCC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9346" y="2982278"/>
              <a:ext cx="147570" cy="18303"/>
            </a:xfrm>
            <a:custGeom>
              <a:avLst/>
              <a:gdLst>
                <a:gd name="T0" fmla="*/ 120 w 129"/>
                <a:gd name="T1" fmla="*/ 0 h 16"/>
                <a:gd name="T2" fmla="*/ 9 w 129"/>
                <a:gd name="T3" fmla="*/ 0 h 16"/>
                <a:gd name="T4" fmla="*/ 0 w 129"/>
                <a:gd name="T5" fmla="*/ 16 h 16"/>
                <a:gd name="T6" fmla="*/ 129 w 129"/>
                <a:gd name="T7" fmla="*/ 16 h 16"/>
                <a:gd name="T8" fmla="*/ 120 w 12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6">
                  <a:moveTo>
                    <a:pt x="120" y="0"/>
                  </a:moveTo>
                  <a:lnTo>
                    <a:pt x="9" y="0"/>
                  </a:lnTo>
                  <a:lnTo>
                    <a:pt x="0" y="16"/>
                  </a:lnTo>
                  <a:lnTo>
                    <a:pt x="129" y="16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4" name="Freeform 360">
              <a:extLst>
                <a:ext uri="{FF2B5EF4-FFF2-40B4-BE49-F238E27FC236}">
                  <a16:creationId xmlns:a16="http://schemas.microsoft.com/office/drawing/2014/main" id="{8742DECC-A6B8-76B9-135E-C0C9A1E73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603" y="2997149"/>
              <a:ext cx="200192" cy="22879"/>
            </a:xfrm>
            <a:custGeom>
              <a:avLst/>
              <a:gdLst>
                <a:gd name="T0" fmla="*/ 162 w 175"/>
                <a:gd name="T1" fmla="*/ 0 h 20"/>
                <a:gd name="T2" fmla="*/ 19 w 175"/>
                <a:gd name="T3" fmla="*/ 0 h 20"/>
                <a:gd name="T4" fmla="*/ 0 w 175"/>
                <a:gd name="T5" fmla="*/ 20 h 20"/>
                <a:gd name="T6" fmla="*/ 175 w 175"/>
                <a:gd name="T7" fmla="*/ 20 h 20"/>
                <a:gd name="T8" fmla="*/ 162 w 17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0">
                  <a:moveTo>
                    <a:pt x="162" y="0"/>
                  </a:moveTo>
                  <a:lnTo>
                    <a:pt x="19" y="0"/>
                  </a:lnTo>
                  <a:lnTo>
                    <a:pt x="0" y="20"/>
                  </a:lnTo>
                  <a:lnTo>
                    <a:pt x="175" y="20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5" name="Rectangle 361">
              <a:extLst>
                <a:ext uri="{FF2B5EF4-FFF2-40B4-BE49-F238E27FC236}">
                  <a16:creationId xmlns:a16="http://schemas.microsoft.com/office/drawing/2014/main" id="{B0E048FD-8DB3-5DCB-3B3D-FDAFB145A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9641" y="2962831"/>
              <a:ext cx="120115" cy="25167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6" name="Oval 362">
              <a:extLst>
                <a:ext uri="{FF2B5EF4-FFF2-40B4-BE49-F238E27FC236}">
                  <a16:creationId xmlns:a16="http://schemas.microsoft.com/office/drawing/2014/main" id="{5776BC4F-34F1-DA34-B18F-C18E2236E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4590" y="2935376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7" name="Oval 363">
              <a:extLst>
                <a:ext uri="{FF2B5EF4-FFF2-40B4-BE49-F238E27FC236}">
                  <a16:creationId xmlns:a16="http://schemas.microsoft.com/office/drawing/2014/main" id="{EC8D3FCE-39D9-6652-D6A1-F213CF80D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4885" y="2946815"/>
              <a:ext cx="32031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8" name="Oval 364">
              <a:extLst>
                <a:ext uri="{FF2B5EF4-FFF2-40B4-BE49-F238E27FC236}">
                  <a16:creationId xmlns:a16="http://schemas.microsoft.com/office/drawing/2014/main" id="{CF585FE1-5A6C-7AB3-505E-31BD32F501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4474" y="2935376"/>
              <a:ext cx="50334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89" name="Oval 365">
              <a:extLst>
                <a:ext uri="{FF2B5EF4-FFF2-40B4-BE49-F238E27FC236}">
                  <a16:creationId xmlns:a16="http://schemas.microsoft.com/office/drawing/2014/main" id="{AB2FF18D-A474-4024-2C4F-46B1DF113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4770" y="2946815"/>
              <a:ext cx="29743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0" name="Rectangle 366">
              <a:extLst>
                <a:ext uri="{FF2B5EF4-FFF2-40B4-BE49-F238E27FC236}">
                  <a16:creationId xmlns:a16="http://schemas.microsoft.com/office/drawing/2014/main" id="{E59D3F0C-3007-6953-8C62-3B02697E4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808" y="2969694"/>
              <a:ext cx="69781" cy="5720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1" name="Rectangle 367">
              <a:extLst>
                <a:ext uri="{FF2B5EF4-FFF2-40B4-BE49-F238E27FC236}">
                  <a16:creationId xmlns:a16="http://schemas.microsoft.com/office/drawing/2014/main" id="{43516AFD-6E8A-D14A-AED2-EAC4365935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5104" y="2954823"/>
              <a:ext cx="49190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2" name="Freeform 368">
              <a:extLst>
                <a:ext uri="{FF2B5EF4-FFF2-40B4-BE49-F238E27FC236}">
                  <a16:creationId xmlns:a16="http://schemas.microsoft.com/office/drawing/2014/main" id="{7BF12194-6D8F-067D-789F-6C2738C2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7019" y="3013165"/>
              <a:ext cx="225359" cy="26311"/>
            </a:xfrm>
            <a:custGeom>
              <a:avLst/>
              <a:gdLst>
                <a:gd name="T0" fmla="*/ 0 w 107"/>
                <a:gd name="T1" fmla="*/ 12 h 12"/>
                <a:gd name="T2" fmla="*/ 107 w 107"/>
                <a:gd name="T3" fmla="*/ 12 h 12"/>
                <a:gd name="T4" fmla="*/ 107 w 107"/>
                <a:gd name="T5" fmla="*/ 3 h 12"/>
                <a:gd name="T6" fmla="*/ 105 w 107"/>
                <a:gd name="T7" fmla="*/ 0 h 12"/>
                <a:gd name="T8" fmla="*/ 2 w 107"/>
                <a:gd name="T9" fmla="*/ 0 h 12"/>
                <a:gd name="T10" fmla="*/ 0 w 107"/>
                <a:gd name="T11" fmla="*/ 3 h 12"/>
                <a:gd name="T12" fmla="*/ 0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0" y="12"/>
                  </a:moveTo>
                  <a:cubicBezTo>
                    <a:pt x="107" y="12"/>
                    <a:pt x="107" y="12"/>
                    <a:pt x="107" y="12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1"/>
                    <a:pt x="106" y="0"/>
                    <a:pt x="10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3" name="Rectangle 369">
              <a:extLst>
                <a:ext uri="{FF2B5EF4-FFF2-40B4-BE49-F238E27FC236}">
                  <a16:creationId xmlns:a16="http://schemas.microsoft.com/office/drawing/2014/main" id="{83126B10-8F2C-4872-B8B4-5537D1CE0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1941" y="2436611"/>
              <a:ext cx="120115" cy="5262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4" name="Rectangle 370">
              <a:extLst>
                <a:ext uri="{FF2B5EF4-FFF2-40B4-BE49-F238E27FC236}">
                  <a16:creationId xmlns:a16="http://schemas.microsoft.com/office/drawing/2014/main" id="{739A05E0-CCA2-453D-FE40-0D51930A5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1941" y="2436611"/>
              <a:ext cx="120115" cy="27455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5" name="Rectangle 371">
              <a:extLst>
                <a:ext uri="{FF2B5EF4-FFF2-40B4-BE49-F238E27FC236}">
                  <a16:creationId xmlns:a16="http://schemas.microsoft.com/office/drawing/2014/main" id="{A59ADD91-BCC4-891B-BA75-39507F5784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1941" y="2935376"/>
              <a:ext cx="120115" cy="27455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6" name="Rectangle 372">
              <a:extLst>
                <a:ext uri="{FF2B5EF4-FFF2-40B4-BE49-F238E27FC236}">
                  <a16:creationId xmlns:a16="http://schemas.microsoft.com/office/drawing/2014/main" id="{3F582954-E67B-1848-BFA0-629AB15345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7956" y="2438899"/>
              <a:ext cx="89229" cy="600576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7" name="Oval 373">
              <a:extLst>
                <a:ext uri="{FF2B5EF4-FFF2-40B4-BE49-F238E27FC236}">
                  <a16:creationId xmlns:a16="http://schemas.microsoft.com/office/drawing/2014/main" id="{ED8D02CF-9BE7-B4D9-A102-6E6092741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745" y="2436611"/>
              <a:ext cx="53766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8" name="Oval 374">
              <a:extLst>
                <a:ext uri="{FF2B5EF4-FFF2-40B4-BE49-F238E27FC236}">
                  <a16:creationId xmlns:a16="http://schemas.microsoft.com/office/drawing/2014/main" id="{4273A6BB-5623-7131-35BC-075CC5CBC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7185" y="2446907"/>
              <a:ext cx="30887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799" name="Oval 375">
              <a:extLst>
                <a:ext uri="{FF2B5EF4-FFF2-40B4-BE49-F238E27FC236}">
                  <a16:creationId xmlns:a16="http://schemas.microsoft.com/office/drawing/2014/main" id="{DAC3B7A7-EB5C-9EEB-E314-23440085DD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774" y="2436611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0" name="Oval 376">
              <a:extLst>
                <a:ext uri="{FF2B5EF4-FFF2-40B4-BE49-F238E27FC236}">
                  <a16:creationId xmlns:a16="http://schemas.microsoft.com/office/drawing/2014/main" id="{C458231E-3691-7940-0C15-282412CAC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7070" y="2446907"/>
              <a:ext cx="30887" cy="32031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1" name="Rectangle 377">
              <a:extLst>
                <a:ext uri="{FF2B5EF4-FFF2-40B4-BE49-F238E27FC236}">
                  <a16:creationId xmlns:a16="http://schemas.microsoft.com/office/drawing/2014/main" id="{DADDE060-AB9A-1512-3DA1-C5A01B047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692" y="2466354"/>
              <a:ext cx="45758" cy="3432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2" name="Rectangle 378">
              <a:extLst>
                <a:ext uri="{FF2B5EF4-FFF2-40B4-BE49-F238E27FC236}">
                  <a16:creationId xmlns:a16="http://schemas.microsoft.com/office/drawing/2014/main" id="{FB06707E-F714-8B1F-273E-875AABAC4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9396" y="2449195"/>
              <a:ext cx="66349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3" name="Freeform 379">
              <a:extLst>
                <a:ext uri="{FF2B5EF4-FFF2-40B4-BE49-F238E27FC236}">
                  <a16:creationId xmlns:a16="http://schemas.microsoft.com/office/drawing/2014/main" id="{217C0898-E3D5-4B95-F7FB-B9733114D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0502" y="2982278"/>
              <a:ext cx="147570" cy="18303"/>
            </a:xfrm>
            <a:custGeom>
              <a:avLst/>
              <a:gdLst>
                <a:gd name="T0" fmla="*/ 120 w 129"/>
                <a:gd name="T1" fmla="*/ 0 h 16"/>
                <a:gd name="T2" fmla="*/ 10 w 129"/>
                <a:gd name="T3" fmla="*/ 0 h 16"/>
                <a:gd name="T4" fmla="*/ 0 w 129"/>
                <a:gd name="T5" fmla="*/ 16 h 16"/>
                <a:gd name="T6" fmla="*/ 129 w 129"/>
                <a:gd name="T7" fmla="*/ 16 h 16"/>
                <a:gd name="T8" fmla="*/ 120 w 12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6">
                  <a:moveTo>
                    <a:pt x="120" y="0"/>
                  </a:moveTo>
                  <a:lnTo>
                    <a:pt x="10" y="0"/>
                  </a:lnTo>
                  <a:lnTo>
                    <a:pt x="0" y="16"/>
                  </a:lnTo>
                  <a:lnTo>
                    <a:pt x="129" y="16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4" name="Freeform 380">
              <a:extLst>
                <a:ext uri="{FF2B5EF4-FFF2-40B4-BE49-F238E27FC236}">
                  <a16:creationId xmlns:a16="http://schemas.microsoft.com/office/drawing/2014/main" id="{175DCE38-499B-FE6C-7B5C-D977273B0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903" y="2997149"/>
              <a:ext cx="200192" cy="22879"/>
            </a:xfrm>
            <a:custGeom>
              <a:avLst/>
              <a:gdLst>
                <a:gd name="T0" fmla="*/ 162 w 175"/>
                <a:gd name="T1" fmla="*/ 0 h 20"/>
                <a:gd name="T2" fmla="*/ 18 w 175"/>
                <a:gd name="T3" fmla="*/ 0 h 20"/>
                <a:gd name="T4" fmla="*/ 0 w 175"/>
                <a:gd name="T5" fmla="*/ 20 h 20"/>
                <a:gd name="T6" fmla="*/ 175 w 175"/>
                <a:gd name="T7" fmla="*/ 20 h 20"/>
                <a:gd name="T8" fmla="*/ 162 w 17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0">
                  <a:moveTo>
                    <a:pt x="162" y="0"/>
                  </a:moveTo>
                  <a:lnTo>
                    <a:pt x="18" y="0"/>
                  </a:lnTo>
                  <a:lnTo>
                    <a:pt x="0" y="20"/>
                  </a:lnTo>
                  <a:lnTo>
                    <a:pt x="175" y="20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5" name="Rectangle 381">
              <a:extLst>
                <a:ext uri="{FF2B5EF4-FFF2-40B4-BE49-F238E27FC236}">
                  <a16:creationId xmlns:a16="http://schemas.microsoft.com/office/drawing/2014/main" id="{8612098B-B8C7-FC1B-5E8F-8CC802F879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1941" y="2962831"/>
              <a:ext cx="120115" cy="25167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6" name="Oval 382">
              <a:extLst>
                <a:ext uri="{FF2B5EF4-FFF2-40B4-BE49-F238E27FC236}">
                  <a16:creationId xmlns:a16="http://schemas.microsoft.com/office/drawing/2014/main" id="{3DB9B109-EE45-9366-FDD2-B76CC9E476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745" y="2935376"/>
              <a:ext cx="53766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1807" name="Oval 383">
              <a:extLst>
                <a:ext uri="{FF2B5EF4-FFF2-40B4-BE49-F238E27FC236}">
                  <a16:creationId xmlns:a16="http://schemas.microsoft.com/office/drawing/2014/main" id="{F697F09D-9230-9D2E-C062-5133BB193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7185" y="2946815"/>
              <a:ext cx="30887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2" name="Oval 384">
              <a:extLst>
                <a:ext uri="{FF2B5EF4-FFF2-40B4-BE49-F238E27FC236}">
                  <a16:creationId xmlns:a16="http://schemas.microsoft.com/office/drawing/2014/main" id="{C541612B-DD64-B9A8-6F2B-FF23EEC25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6774" y="2935376"/>
              <a:ext cx="52622" cy="52622"/>
            </a:xfrm>
            <a:prstGeom prst="ellipse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3" name="Oval 385">
              <a:extLst>
                <a:ext uri="{FF2B5EF4-FFF2-40B4-BE49-F238E27FC236}">
                  <a16:creationId xmlns:a16="http://schemas.microsoft.com/office/drawing/2014/main" id="{E0483AB9-4B4F-251A-6A6D-E48F22FF7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7070" y="2946815"/>
              <a:ext cx="30887" cy="30887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4" name="Rectangle 386">
              <a:extLst>
                <a:ext uri="{FF2B5EF4-FFF2-40B4-BE49-F238E27FC236}">
                  <a16:creationId xmlns:a16="http://schemas.microsoft.com/office/drawing/2014/main" id="{22911A84-A3B5-7BE4-58F2-2B1097748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9396" y="2969694"/>
              <a:ext cx="66349" cy="5720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5" name="Rectangle 387">
              <a:extLst>
                <a:ext uri="{FF2B5EF4-FFF2-40B4-BE49-F238E27FC236}">
                  <a16:creationId xmlns:a16="http://schemas.microsoft.com/office/drawing/2014/main" id="{DEED64E4-6A41-DEB6-3361-30DF4FD135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692" y="2954823"/>
              <a:ext cx="45758" cy="4576"/>
            </a:xfrm>
            <a:prstGeom prst="rect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6" name="Freeform 388">
              <a:extLst>
                <a:ext uri="{FF2B5EF4-FFF2-40B4-BE49-F238E27FC236}">
                  <a16:creationId xmlns:a16="http://schemas.microsoft.com/office/drawing/2014/main" id="{124ED478-A9D8-83FA-5BE2-F807A9184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19" y="3013165"/>
              <a:ext cx="226503" cy="26311"/>
            </a:xfrm>
            <a:custGeom>
              <a:avLst/>
              <a:gdLst>
                <a:gd name="T0" fmla="*/ 0 w 108"/>
                <a:gd name="T1" fmla="*/ 12 h 12"/>
                <a:gd name="T2" fmla="*/ 108 w 108"/>
                <a:gd name="T3" fmla="*/ 12 h 12"/>
                <a:gd name="T4" fmla="*/ 108 w 108"/>
                <a:gd name="T5" fmla="*/ 3 h 12"/>
                <a:gd name="T6" fmla="*/ 105 w 108"/>
                <a:gd name="T7" fmla="*/ 0 h 12"/>
                <a:gd name="T8" fmla="*/ 2 w 108"/>
                <a:gd name="T9" fmla="*/ 0 h 12"/>
                <a:gd name="T10" fmla="*/ 0 w 108"/>
                <a:gd name="T11" fmla="*/ 3 h 12"/>
                <a:gd name="T12" fmla="*/ 0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0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1"/>
                    <a:pt x="107" y="0"/>
                    <a:pt x="10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7" name="Oval 389">
              <a:extLst>
                <a:ext uri="{FF2B5EF4-FFF2-40B4-BE49-F238E27FC236}">
                  <a16:creationId xmlns:a16="http://schemas.microsoft.com/office/drawing/2014/main" id="{1E363F62-D06D-AF09-9846-F876BFC41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1776" y="2221548"/>
              <a:ext cx="122403" cy="122403"/>
            </a:xfrm>
            <a:prstGeom prst="ellipse">
              <a:avLst/>
            </a:prstGeom>
            <a:solidFill>
              <a:srgbClr val="D4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8" name="Freeform 390">
              <a:extLst>
                <a:ext uri="{FF2B5EF4-FFF2-40B4-BE49-F238E27FC236}">
                  <a16:creationId xmlns:a16="http://schemas.microsoft.com/office/drawing/2014/main" id="{A6FF8CD8-77A4-F477-941E-0C3B96E38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0351" y="3150439"/>
              <a:ext cx="1320124" cy="61774"/>
            </a:xfrm>
            <a:custGeom>
              <a:avLst/>
              <a:gdLst>
                <a:gd name="T0" fmla="*/ 6 w 627"/>
                <a:gd name="T1" fmla="*/ 0 h 29"/>
                <a:gd name="T2" fmla="*/ 622 w 627"/>
                <a:gd name="T3" fmla="*/ 0 h 29"/>
                <a:gd name="T4" fmla="*/ 627 w 627"/>
                <a:gd name="T5" fmla="*/ 6 h 29"/>
                <a:gd name="T6" fmla="*/ 627 w 627"/>
                <a:gd name="T7" fmla="*/ 29 h 29"/>
                <a:gd name="T8" fmla="*/ 0 w 627"/>
                <a:gd name="T9" fmla="*/ 29 h 29"/>
                <a:gd name="T10" fmla="*/ 0 w 627"/>
                <a:gd name="T11" fmla="*/ 6 h 29"/>
                <a:gd name="T12" fmla="*/ 6 w 627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7" h="29">
                  <a:moveTo>
                    <a:pt x="6" y="0"/>
                  </a:moveTo>
                  <a:cubicBezTo>
                    <a:pt x="622" y="0"/>
                    <a:pt x="622" y="0"/>
                    <a:pt x="622" y="0"/>
                  </a:cubicBezTo>
                  <a:cubicBezTo>
                    <a:pt x="625" y="0"/>
                    <a:pt x="627" y="3"/>
                    <a:pt x="627" y="6"/>
                  </a:cubicBezTo>
                  <a:cubicBezTo>
                    <a:pt x="627" y="29"/>
                    <a:pt x="627" y="29"/>
                    <a:pt x="627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199" name="Rectangle 391">
              <a:extLst>
                <a:ext uri="{FF2B5EF4-FFF2-40B4-BE49-F238E27FC236}">
                  <a16:creationId xmlns:a16="http://schemas.microsoft.com/office/drawing/2014/main" id="{9737B0D3-CDC3-5576-F728-42D9DB379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3268" y="3039476"/>
              <a:ext cx="1181706" cy="40038"/>
            </a:xfrm>
            <a:prstGeom prst="rect">
              <a:avLst/>
            </a:prstGeom>
            <a:solidFill>
              <a:srgbClr val="E3E9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200" name="Rectangle 392">
              <a:extLst>
                <a:ext uri="{FF2B5EF4-FFF2-40B4-BE49-F238E27FC236}">
                  <a16:creationId xmlns:a16="http://schemas.microsoft.com/office/drawing/2014/main" id="{0AB6EB81-74A3-3781-D8EB-224A885BB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2677" y="3079514"/>
              <a:ext cx="1222888" cy="41182"/>
            </a:xfrm>
            <a:prstGeom prst="rect">
              <a:avLst/>
            </a:prstGeom>
            <a:solidFill>
              <a:srgbClr val="F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201" name="Rectangle 393">
              <a:extLst>
                <a:ext uri="{FF2B5EF4-FFF2-40B4-BE49-F238E27FC236}">
                  <a16:creationId xmlns:a16="http://schemas.microsoft.com/office/drawing/2014/main" id="{69B55F47-57E8-556F-5E63-868ED5BC7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5518" y="3119552"/>
              <a:ext cx="1259495" cy="41182"/>
            </a:xfrm>
            <a:prstGeom prst="rect">
              <a:avLst/>
            </a:prstGeom>
            <a:solidFill>
              <a:srgbClr val="E3E9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</p:grpSp>
      <p:sp>
        <p:nvSpPr>
          <p:cNvPr id="32202" name="TextBox 32201">
            <a:extLst>
              <a:ext uri="{FF2B5EF4-FFF2-40B4-BE49-F238E27FC236}">
                <a16:creationId xmlns:a16="http://schemas.microsoft.com/office/drawing/2014/main" id="{84D9BAF3-4467-44B0-45CB-C00754782592}"/>
              </a:ext>
            </a:extLst>
          </p:cNvPr>
          <p:cNvSpPr txBox="1"/>
          <p:nvPr/>
        </p:nvSpPr>
        <p:spPr>
          <a:xfrm>
            <a:off x="998400" y="1497243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l-GR" sz="1500" b="1" dirty="0">
                <a:solidFill>
                  <a:srgbClr val="098E7E"/>
                </a:solidFill>
              </a:rPr>
              <a:t>Φορέας Υλοποίησης</a:t>
            </a:r>
          </a:p>
        </p:txBody>
      </p:sp>
      <p:sp>
        <p:nvSpPr>
          <p:cNvPr id="32203" name="TextBox 32202">
            <a:extLst>
              <a:ext uri="{FF2B5EF4-FFF2-40B4-BE49-F238E27FC236}">
                <a16:creationId xmlns:a16="http://schemas.microsoft.com/office/drawing/2014/main" id="{D96E0094-FE51-D1B8-0BD2-8849A72B85A5}"/>
              </a:ext>
            </a:extLst>
          </p:cNvPr>
          <p:cNvSpPr txBox="1"/>
          <p:nvPr/>
        </p:nvSpPr>
        <p:spPr>
          <a:xfrm>
            <a:off x="2234362" y="1872814"/>
            <a:ext cx="5143668" cy="8258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l-GR" sz="2800" b="1" dirty="0">
                <a:solidFill>
                  <a:schemeClr val="tx2"/>
                </a:solidFill>
              </a:rPr>
              <a:t>Υπουργείο Τουρισμού</a:t>
            </a:r>
          </a:p>
          <a:p>
            <a:pPr algn="l">
              <a:spcAft>
                <a:spcPts val="600"/>
              </a:spcAft>
            </a:pPr>
            <a:r>
              <a:rPr lang="el-GR" sz="1600" b="1" dirty="0">
                <a:solidFill>
                  <a:schemeClr val="tx2"/>
                </a:solidFill>
              </a:rPr>
              <a:t>Διεύθυνση Έρευνας</a:t>
            </a:r>
          </a:p>
        </p:txBody>
      </p:sp>
      <p:sp>
        <p:nvSpPr>
          <p:cNvPr id="32294" name="TextBox 32293">
            <a:extLst>
              <a:ext uri="{FF2B5EF4-FFF2-40B4-BE49-F238E27FC236}">
                <a16:creationId xmlns:a16="http://schemas.microsoft.com/office/drawing/2014/main" id="{81D8CEDF-023B-0ED2-AB36-0747C46700D1}"/>
              </a:ext>
            </a:extLst>
          </p:cNvPr>
          <p:cNvSpPr txBox="1"/>
          <p:nvPr/>
        </p:nvSpPr>
        <p:spPr>
          <a:xfrm>
            <a:off x="998400" y="3045288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l-GR" sz="1500" b="1" dirty="0">
                <a:solidFill>
                  <a:srgbClr val="098E7E"/>
                </a:solidFill>
              </a:rPr>
              <a:t>Δικαιούχοι</a:t>
            </a:r>
          </a:p>
        </p:txBody>
      </p:sp>
      <p:sp>
        <p:nvSpPr>
          <p:cNvPr id="32295" name="TextBox 32294">
            <a:extLst>
              <a:ext uri="{FF2B5EF4-FFF2-40B4-BE49-F238E27FC236}">
                <a16:creationId xmlns:a16="http://schemas.microsoft.com/office/drawing/2014/main" id="{300404FD-0E9D-BF88-C09F-FB20CF84C7BC}"/>
              </a:ext>
            </a:extLst>
          </p:cNvPr>
          <p:cNvSpPr txBox="1"/>
          <p:nvPr/>
        </p:nvSpPr>
        <p:spPr>
          <a:xfrm>
            <a:off x="2234362" y="3411058"/>
            <a:ext cx="4409893" cy="6347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600" b="1" dirty="0">
                <a:solidFill>
                  <a:schemeClr val="tx2"/>
                </a:solidFill>
              </a:rPr>
              <a:t>Υπουργείο Τουρισμού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600" b="1" dirty="0">
                <a:solidFill>
                  <a:schemeClr val="tx2"/>
                </a:solidFill>
              </a:rPr>
              <a:t>Ο.Τ.Α. Β΄ βαθμού</a:t>
            </a:r>
          </a:p>
        </p:txBody>
      </p:sp>
      <p:grpSp>
        <p:nvGrpSpPr>
          <p:cNvPr id="32296" name="Group 32295">
            <a:extLst>
              <a:ext uri="{FF2B5EF4-FFF2-40B4-BE49-F238E27FC236}">
                <a16:creationId xmlns:a16="http://schemas.microsoft.com/office/drawing/2014/main" id="{34B8BC05-B93E-2C6B-C924-E17F0F2CDF4E}"/>
              </a:ext>
            </a:extLst>
          </p:cNvPr>
          <p:cNvGrpSpPr/>
          <p:nvPr/>
        </p:nvGrpSpPr>
        <p:grpSpPr>
          <a:xfrm>
            <a:off x="1037364" y="3517857"/>
            <a:ext cx="828355" cy="727148"/>
            <a:chOff x="3952830" y="4707146"/>
            <a:chExt cx="1743142" cy="1530166"/>
          </a:xfrm>
        </p:grpSpPr>
        <p:sp>
          <p:nvSpPr>
            <p:cNvPr id="32297" name="Freeform 5">
              <a:extLst>
                <a:ext uri="{FF2B5EF4-FFF2-40B4-BE49-F238E27FC236}">
                  <a16:creationId xmlns:a16="http://schemas.microsoft.com/office/drawing/2014/main" id="{5C83A0C5-F3B2-BAAA-DF2C-1C346FA3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927" y="5112684"/>
              <a:ext cx="84577" cy="388370"/>
            </a:xfrm>
            <a:custGeom>
              <a:avLst/>
              <a:gdLst>
                <a:gd name="T0" fmla="*/ 86 w 198"/>
                <a:gd name="T1" fmla="*/ 0 h 909"/>
                <a:gd name="T2" fmla="*/ 15 w 198"/>
                <a:gd name="T3" fmla="*/ 192 h 909"/>
                <a:gd name="T4" fmla="*/ 0 w 198"/>
                <a:gd name="T5" fmla="*/ 575 h 909"/>
                <a:gd name="T6" fmla="*/ 144 w 198"/>
                <a:gd name="T7" fmla="*/ 909 h 909"/>
                <a:gd name="T8" fmla="*/ 195 w 198"/>
                <a:gd name="T9" fmla="*/ 646 h 909"/>
                <a:gd name="T10" fmla="*/ 150 w 198"/>
                <a:gd name="T11" fmla="*/ 495 h 909"/>
                <a:gd name="T12" fmla="*/ 188 w 198"/>
                <a:gd name="T13" fmla="*/ 382 h 909"/>
                <a:gd name="T14" fmla="*/ 86 w 198"/>
                <a:gd name="T15" fmla="*/ 0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8" h="909">
                  <a:moveTo>
                    <a:pt x="86" y="0"/>
                  </a:moveTo>
                  <a:cubicBezTo>
                    <a:pt x="15" y="192"/>
                    <a:pt x="15" y="192"/>
                    <a:pt x="15" y="192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144" y="909"/>
                    <a:pt x="144" y="909"/>
                    <a:pt x="144" y="909"/>
                  </a:cubicBezTo>
                  <a:cubicBezTo>
                    <a:pt x="195" y="646"/>
                    <a:pt x="195" y="646"/>
                    <a:pt x="195" y="646"/>
                  </a:cubicBezTo>
                  <a:cubicBezTo>
                    <a:pt x="150" y="495"/>
                    <a:pt x="150" y="495"/>
                    <a:pt x="150" y="495"/>
                  </a:cubicBezTo>
                  <a:cubicBezTo>
                    <a:pt x="188" y="382"/>
                    <a:pt x="188" y="382"/>
                    <a:pt x="188" y="382"/>
                  </a:cubicBezTo>
                  <a:cubicBezTo>
                    <a:pt x="188" y="382"/>
                    <a:pt x="198" y="305"/>
                    <a:pt x="86" y="0"/>
                  </a:cubicBezTo>
                  <a:close/>
                </a:path>
              </a:pathLst>
            </a:custGeom>
            <a:solidFill>
              <a:srgbClr val="454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298" name="Freeform 6">
              <a:extLst>
                <a:ext uri="{FF2B5EF4-FFF2-40B4-BE49-F238E27FC236}">
                  <a16:creationId xmlns:a16="http://schemas.microsoft.com/office/drawing/2014/main" id="{ABE7C025-E484-EA3D-2B73-BF45DF25D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107" y="6025688"/>
              <a:ext cx="98674" cy="70481"/>
            </a:xfrm>
            <a:custGeom>
              <a:avLst/>
              <a:gdLst>
                <a:gd name="T0" fmla="*/ 73 w 231"/>
                <a:gd name="T1" fmla="*/ 0 h 165"/>
                <a:gd name="T2" fmla="*/ 20 w 231"/>
                <a:gd name="T3" fmla="*/ 59 h 165"/>
                <a:gd name="T4" fmla="*/ 0 w 231"/>
                <a:gd name="T5" fmla="*/ 122 h 165"/>
                <a:gd name="T6" fmla="*/ 143 w 231"/>
                <a:gd name="T7" fmla="*/ 117 h 165"/>
                <a:gd name="T8" fmla="*/ 218 w 231"/>
                <a:gd name="T9" fmla="*/ 36 h 165"/>
                <a:gd name="T10" fmla="*/ 219 w 231"/>
                <a:gd name="T11" fmla="*/ 0 h 165"/>
                <a:gd name="T12" fmla="*/ 73 w 231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165">
                  <a:moveTo>
                    <a:pt x="73" y="0"/>
                  </a:moveTo>
                  <a:cubicBezTo>
                    <a:pt x="73" y="0"/>
                    <a:pt x="38" y="28"/>
                    <a:pt x="20" y="59"/>
                  </a:cubicBezTo>
                  <a:cubicBezTo>
                    <a:pt x="2" y="89"/>
                    <a:pt x="0" y="122"/>
                    <a:pt x="0" y="122"/>
                  </a:cubicBezTo>
                  <a:cubicBezTo>
                    <a:pt x="0" y="122"/>
                    <a:pt x="55" y="165"/>
                    <a:pt x="143" y="117"/>
                  </a:cubicBezTo>
                  <a:cubicBezTo>
                    <a:pt x="231" y="69"/>
                    <a:pt x="218" y="36"/>
                    <a:pt x="218" y="36"/>
                  </a:cubicBezTo>
                  <a:cubicBezTo>
                    <a:pt x="219" y="0"/>
                    <a:pt x="219" y="0"/>
                    <a:pt x="219" y="0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rgbClr val="5953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299" name="Freeform 7">
              <a:extLst>
                <a:ext uri="{FF2B5EF4-FFF2-40B4-BE49-F238E27FC236}">
                  <a16:creationId xmlns:a16="http://schemas.microsoft.com/office/drawing/2014/main" id="{F5F9B6C0-A159-1775-EEFD-2A19A412F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5491" y="5116118"/>
              <a:ext cx="70481" cy="329816"/>
            </a:xfrm>
            <a:custGeom>
              <a:avLst/>
              <a:gdLst>
                <a:gd name="T0" fmla="*/ 104 w 390"/>
                <a:gd name="T1" fmla="*/ 0 h 1825"/>
                <a:gd name="T2" fmla="*/ 317 w 390"/>
                <a:gd name="T3" fmla="*/ 139 h 1825"/>
                <a:gd name="T4" fmla="*/ 390 w 390"/>
                <a:gd name="T5" fmla="*/ 915 h 1825"/>
                <a:gd name="T6" fmla="*/ 343 w 390"/>
                <a:gd name="T7" fmla="*/ 1307 h 1825"/>
                <a:gd name="T8" fmla="*/ 173 w 390"/>
                <a:gd name="T9" fmla="*/ 1825 h 1825"/>
                <a:gd name="T10" fmla="*/ 0 w 390"/>
                <a:gd name="T11" fmla="*/ 1151 h 1825"/>
                <a:gd name="T12" fmla="*/ 104 w 390"/>
                <a:gd name="T13" fmla="*/ 0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1825">
                  <a:moveTo>
                    <a:pt x="104" y="0"/>
                  </a:moveTo>
                  <a:lnTo>
                    <a:pt x="317" y="139"/>
                  </a:lnTo>
                  <a:lnTo>
                    <a:pt x="390" y="915"/>
                  </a:lnTo>
                  <a:lnTo>
                    <a:pt x="343" y="1307"/>
                  </a:lnTo>
                  <a:lnTo>
                    <a:pt x="173" y="1825"/>
                  </a:lnTo>
                  <a:lnTo>
                    <a:pt x="0" y="1151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454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0" name="Freeform 8">
              <a:extLst>
                <a:ext uri="{FF2B5EF4-FFF2-40B4-BE49-F238E27FC236}">
                  <a16:creationId xmlns:a16="http://schemas.microsoft.com/office/drawing/2014/main" id="{F5992995-99F5-253A-7F9E-27B41CCB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457" y="5392079"/>
              <a:ext cx="254455" cy="641741"/>
            </a:xfrm>
            <a:custGeom>
              <a:avLst/>
              <a:gdLst>
                <a:gd name="T0" fmla="*/ 405 w 596"/>
                <a:gd name="T1" fmla="*/ 0 h 1502"/>
                <a:gd name="T2" fmla="*/ 404 w 596"/>
                <a:gd name="T3" fmla="*/ 126 h 1502"/>
                <a:gd name="T4" fmla="*/ 401 w 596"/>
                <a:gd name="T5" fmla="*/ 126 h 1502"/>
                <a:gd name="T6" fmla="*/ 48 w 596"/>
                <a:gd name="T7" fmla="*/ 126 h 1502"/>
                <a:gd name="T8" fmla="*/ 32 w 596"/>
                <a:gd name="T9" fmla="*/ 139 h 1502"/>
                <a:gd name="T10" fmla="*/ 17 w 596"/>
                <a:gd name="T11" fmla="*/ 466 h 1502"/>
                <a:gd name="T12" fmla="*/ 103 w 596"/>
                <a:gd name="T13" fmla="*/ 1100 h 1502"/>
                <a:gd name="T14" fmla="*/ 106 w 596"/>
                <a:gd name="T15" fmla="*/ 1419 h 1502"/>
                <a:gd name="T16" fmla="*/ 109 w 596"/>
                <a:gd name="T17" fmla="*/ 1430 h 1502"/>
                <a:gd name="T18" fmla="*/ 121 w 596"/>
                <a:gd name="T19" fmla="*/ 1446 h 1502"/>
                <a:gd name="T20" fmla="*/ 122 w 596"/>
                <a:gd name="T21" fmla="*/ 1465 h 1502"/>
                <a:gd name="T22" fmla="*/ 115 w 596"/>
                <a:gd name="T23" fmla="*/ 1476 h 1502"/>
                <a:gd name="T24" fmla="*/ 129 w 596"/>
                <a:gd name="T25" fmla="*/ 1502 h 1502"/>
                <a:gd name="T26" fmla="*/ 278 w 596"/>
                <a:gd name="T27" fmla="*/ 1502 h 1502"/>
                <a:gd name="T28" fmla="*/ 295 w 596"/>
                <a:gd name="T29" fmla="*/ 1485 h 1502"/>
                <a:gd name="T30" fmla="*/ 298 w 596"/>
                <a:gd name="T31" fmla="*/ 863 h 1502"/>
                <a:gd name="T32" fmla="*/ 317 w 596"/>
                <a:gd name="T33" fmla="*/ 489 h 1502"/>
                <a:gd name="T34" fmla="*/ 323 w 596"/>
                <a:gd name="T35" fmla="*/ 476 h 1502"/>
                <a:gd name="T36" fmla="*/ 330 w 596"/>
                <a:gd name="T37" fmla="*/ 471 h 1502"/>
                <a:gd name="T38" fmla="*/ 330 w 596"/>
                <a:gd name="T39" fmla="*/ 1487 h 1502"/>
                <a:gd name="T40" fmla="*/ 345 w 596"/>
                <a:gd name="T41" fmla="*/ 1502 h 1502"/>
                <a:gd name="T42" fmla="*/ 504 w 596"/>
                <a:gd name="T43" fmla="*/ 1502 h 1502"/>
                <a:gd name="T44" fmla="*/ 557 w 596"/>
                <a:gd name="T45" fmla="*/ 858 h 1502"/>
                <a:gd name="T46" fmla="*/ 596 w 596"/>
                <a:gd name="T47" fmla="*/ 148 h 1502"/>
                <a:gd name="T48" fmla="*/ 405 w 596"/>
                <a:gd name="T49" fmla="*/ 0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6" h="1502">
                  <a:moveTo>
                    <a:pt x="405" y="0"/>
                  </a:moveTo>
                  <a:cubicBezTo>
                    <a:pt x="405" y="0"/>
                    <a:pt x="407" y="59"/>
                    <a:pt x="404" y="126"/>
                  </a:cubicBezTo>
                  <a:cubicBezTo>
                    <a:pt x="403" y="126"/>
                    <a:pt x="402" y="126"/>
                    <a:pt x="401" y="12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0" y="126"/>
                    <a:pt x="33" y="131"/>
                    <a:pt x="32" y="139"/>
                  </a:cubicBezTo>
                  <a:cubicBezTo>
                    <a:pt x="23" y="183"/>
                    <a:pt x="0" y="324"/>
                    <a:pt x="17" y="466"/>
                  </a:cubicBezTo>
                  <a:cubicBezTo>
                    <a:pt x="37" y="636"/>
                    <a:pt x="90" y="912"/>
                    <a:pt x="103" y="1100"/>
                  </a:cubicBezTo>
                  <a:cubicBezTo>
                    <a:pt x="114" y="1265"/>
                    <a:pt x="108" y="1391"/>
                    <a:pt x="106" y="1419"/>
                  </a:cubicBezTo>
                  <a:cubicBezTo>
                    <a:pt x="106" y="1423"/>
                    <a:pt x="107" y="1427"/>
                    <a:pt x="109" y="1430"/>
                  </a:cubicBezTo>
                  <a:cubicBezTo>
                    <a:pt x="121" y="1446"/>
                    <a:pt x="121" y="1446"/>
                    <a:pt x="121" y="1446"/>
                  </a:cubicBezTo>
                  <a:cubicBezTo>
                    <a:pt x="125" y="1452"/>
                    <a:pt x="126" y="1459"/>
                    <a:pt x="122" y="1465"/>
                  </a:cubicBezTo>
                  <a:cubicBezTo>
                    <a:pt x="115" y="1476"/>
                    <a:pt x="115" y="1476"/>
                    <a:pt x="115" y="1476"/>
                  </a:cubicBezTo>
                  <a:cubicBezTo>
                    <a:pt x="108" y="1487"/>
                    <a:pt x="116" y="1502"/>
                    <a:pt x="129" y="1502"/>
                  </a:cubicBezTo>
                  <a:cubicBezTo>
                    <a:pt x="278" y="1502"/>
                    <a:pt x="278" y="1502"/>
                    <a:pt x="278" y="1502"/>
                  </a:cubicBezTo>
                  <a:cubicBezTo>
                    <a:pt x="287" y="1502"/>
                    <a:pt x="294" y="1494"/>
                    <a:pt x="295" y="1485"/>
                  </a:cubicBezTo>
                  <a:cubicBezTo>
                    <a:pt x="295" y="1410"/>
                    <a:pt x="287" y="1032"/>
                    <a:pt x="298" y="863"/>
                  </a:cubicBezTo>
                  <a:cubicBezTo>
                    <a:pt x="310" y="690"/>
                    <a:pt x="318" y="534"/>
                    <a:pt x="317" y="489"/>
                  </a:cubicBezTo>
                  <a:cubicBezTo>
                    <a:pt x="317" y="484"/>
                    <a:pt x="319" y="479"/>
                    <a:pt x="323" y="476"/>
                  </a:cubicBezTo>
                  <a:cubicBezTo>
                    <a:pt x="325" y="475"/>
                    <a:pt x="327" y="473"/>
                    <a:pt x="330" y="471"/>
                  </a:cubicBezTo>
                  <a:cubicBezTo>
                    <a:pt x="330" y="1487"/>
                    <a:pt x="330" y="1487"/>
                    <a:pt x="330" y="1487"/>
                  </a:cubicBezTo>
                  <a:cubicBezTo>
                    <a:pt x="330" y="1495"/>
                    <a:pt x="336" y="1502"/>
                    <a:pt x="345" y="1502"/>
                  </a:cubicBezTo>
                  <a:cubicBezTo>
                    <a:pt x="504" y="1502"/>
                    <a:pt x="504" y="1502"/>
                    <a:pt x="504" y="1502"/>
                  </a:cubicBezTo>
                  <a:cubicBezTo>
                    <a:pt x="504" y="1502"/>
                    <a:pt x="542" y="1105"/>
                    <a:pt x="557" y="858"/>
                  </a:cubicBezTo>
                  <a:cubicBezTo>
                    <a:pt x="573" y="610"/>
                    <a:pt x="596" y="148"/>
                    <a:pt x="596" y="148"/>
                  </a:cubicBezTo>
                  <a:lnTo>
                    <a:pt x="405" y="0"/>
                  </a:lnTo>
                  <a:close/>
                </a:path>
              </a:pathLst>
            </a:custGeom>
            <a:solidFill>
              <a:srgbClr val="555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1" name="Freeform 9">
              <a:extLst>
                <a:ext uri="{FF2B5EF4-FFF2-40B4-BE49-F238E27FC236}">
                  <a16:creationId xmlns:a16="http://schemas.microsoft.com/office/drawing/2014/main" id="{A790B502-00BB-81EC-4A2E-DC8B7FE59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8023" y="5078528"/>
              <a:ext cx="288431" cy="395237"/>
            </a:xfrm>
            <a:custGeom>
              <a:avLst/>
              <a:gdLst>
                <a:gd name="T0" fmla="*/ 238 w 675"/>
                <a:gd name="T1" fmla="*/ 5 h 925"/>
                <a:gd name="T2" fmla="*/ 18 w 675"/>
                <a:gd name="T3" fmla="*/ 80 h 925"/>
                <a:gd name="T4" fmla="*/ 0 w 675"/>
                <a:gd name="T5" fmla="*/ 130 h 925"/>
                <a:gd name="T6" fmla="*/ 51 w 675"/>
                <a:gd name="T7" fmla="*/ 255 h 925"/>
                <a:gd name="T8" fmla="*/ 109 w 675"/>
                <a:gd name="T9" fmla="*/ 523 h 925"/>
                <a:gd name="T10" fmla="*/ 105 w 675"/>
                <a:gd name="T11" fmla="*/ 658 h 925"/>
                <a:gd name="T12" fmla="*/ 57 w 675"/>
                <a:gd name="T13" fmla="*/ 898 h 925"/>
                <a:gd name="T14" fmla="*/ 280 w 675"/>
                <a:gd name="T15" fmla="*/ 916 h 925"/>
                <a:gd name="T16" fmla="*/ 391 w 675"/>
                <a:gd name="T17" fmla="*/ 916 h 925"/>
                <a:gd name="T18" fmla="*/ 476 w 675"/>
                <a:gd name="T19" fmla="*/ 830 h 925"/>
                <a:gd name="T20" fmla="*/ 559 w 675"/>
                <a:gd name="T21" fmla="*/ 925 h 925"/>
                <a:gd name="T22" fmla="*/ 659 w 675"/>
                <a:gd name="T23" fmla="*/ 925 h 925"/>
                <a:gd name="T24" fmla="*/ 600 w 675"/>
                <a:gd name="T25" fmla="*/ 590 h 925"/>
                <a:gd name="T26" fmla="*/ 675 w 675"/>
                <a:gd name="T27" fmla="*/ 362 h 925"/>
                <a:gd name="T28" fmla="*/ 657 w 675"/>
                <a:gd name="T29" fmla="*/ 149 h 925"/>
                <a:gd name="T30" fmla="*/ 618 w 675"/>
                <a:gd name="T31" fmla="*/ 87 h 925"/>
                <a:gd name="T32" fmla="*/ 410 w 675"/>
                <a:gd name="T33" fmla="*/ 0 h 925"/>
                <a:gd name="T34" fmla="*/ 238 w 675"/>
                <a:gd name="T35" fmla="*/ 5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5" h="925">
                  <a:moveTo>
                    <a:pt x="238" y="5"/>
                  </a:moveTo>
                  <a:cubicBezTo>
                    <a:pt x="18" y="80"/>
                    <a:pt x="18" y="80"/>
                    <a:pt x="18" y="8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51" y="255"/>
                    <a:pt x="51" y="255"/>
                    <a:pt x="51" y="255"/>
                  </a:cubicBezTo>
                  <a:cubicBezTo>
                    <a:pt x="109" y="523"/>
                    <a:pt x="109" y="523"/>
                    <a:pt x="109" y="523"/>
                  </a:cubicBezTo>
                  <a:cubicBezTo>
                    <a:pt x="105" y="658"/>
                    <a:pt x="105" y="658"/>
                    <a:pt x="105" y="658"/>
                  </a:cubicBezTo>
                  <a:cubicBezTo>
                    <a:pt x="57" y="898"/>
                    <a:pt x="57" y="898"/>
                    <a:pt x="57" y="898"/>
                  </a:cubicBezTo>
                  <a:cubicBezTo>
                    <a:pt x="57" y="898"/>
                    <a:pt x="178" y="914"/>
                    <a:pt x="280" y="916"/>
                  </a:cubicBezTo>
                  <a:cubicBezTo>
                    <a:pt x="381" y="919"/>
                    <a:pt x="391" y="916"/>
                    <a:pt x="391" y="916"/>
                  </a:cubicBezTo>
                  <a:cubicBezTo>
                    <a:pt x="476" y="830"/>
                    <a:pt x="476" y="830"/>
                    <a:pt x="476" y="830"/>
                  </a:cubicBezTo>
                  <a:cubicBezTo>
                    <a:pt x="559" y="925"/>
                    <a:pt x="559" y="925"/>
                    <a:pt x="559" y="925"/>
                  </a:cubicBezTo>
                  <a:cubicBezTo>
                    <a:pt x="659" y="925"/>
                    <a:pt x="659" y="925"/>
                    <a:pt x="659" y="925"/>
                  </a:cubicBezTo>
                  <a:cubicBezTo>
                    <a:pt x="600" y="590"/>
                    <a:pt x="600" y="590"/>
                    <a:pt x="600" y="590"/>
                  </a:cubicBezTo>
                  <a:cubicBezTo>
                    <a:pt x="675" y="362"/>
                    <a:pt x="675" y="362"/>
                    <a:pt x="675" y="362"/>
                  </a:cubicBezTo>
                  <a:cubicBezTo>
                    <a:pt x="675" y="362"/>
                    <a:pt x="675" y="184"/>
                    <a:pt x="657" y="149"/>
                  </a:cubicBezTo>
                  <a:cubicBezTo>
                    <a:pt x="639" y="113"/>
                    <a:pt x="618" y="87"/>
                    <a:pt x="618" y="87"/>
                  </a:cubicBezTo>
                  <a:cubicBezTo>
                    <a:pt x="410" y="0"/>
                    <a:pt x="410" y="0"/>
                    <a:pt x="410" y="0"/>
                  </a:cubicBezTo>
                  <a:lnTo>
                    <a:pt x="238" y="5"/>
                  </a:lnTo>
                  <a:close/>
                </a:path>
              </a:pathLst>
            </a:custGeom>
            <a:solidFill>
              <a:srgbClr val="4A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2" name="Freeform 10">
              <a:extLst>
                <a:ext uri="{FF2B5EF4-FFF2-40B4-BE49-F238E27FC236}">
                  <a16:creationId xmlns:a16="http://schemas.microsoft.com/office/drawing/2014/main" id="{862427D2-89A2-64B9-4F4D-78E1817FD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8263" y="5037866"/>
              <a:ext cx="100842" cy="164998"/>
            </a:xfrm>
            <a:custGeom>
              <a:avLst/>
              <a:gdLst>
                <a:gd name="T0" fmla="*/ 157 w 236"/>
                <a:gd name="T1" fmla="*/ 0 h 386"/>
                <a:gd name="T2" fmla="*/ 170 w 236"/>
                <a:gd name="T3" fmla="*/ 87 h 386"/>
                <a:gd name="T4" fmla="*/ 196 w 236"/>
                <a:gd name="T5" fmla="*/ 142 h 386"/>
                <a:gd name="T6" fmla="*/ 221 w 236"/>
                <a:gd name="T7" fmla="*/ 280 h 386"/>
                <a:gd name="T8" fmla="*/ 197 w 236"/>
                <a:gd name="T9" fmla="*/ 376 h 386"/>
                <a:gd name="T10" fmla="*/ 21 w 236"/>
                <a:gd name="T11" fmla="*/ 178 h 386"/>
                <a:gd name="T12" fmla="*/ 5 w 236"/>
                <a:gd name="T13" fmla="*/ 31 h 386"/>
                <a:gd name="T14" fmla="*/ 157 w 236"/>
                <a:gd name="T15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6" h="386">
                  <a:moveTo>
                    <a:pt x="157" y="0"/>
                  </a:moveTo>
                  <a:cubicBezTo>
                    <a:pt x="157" y="21"/>
                    <a:pt x="159" y="52"/>
                    <a:pt x="170" y="87"/>
                  </a:cubicBezTo>
                  <a:cubicBezTo>
                    <a:pt x="179" y="112"/>
                    <a:pt x="185" y="116"/>
                    <a:pt x="196" y="142"/>
                  </a:cubicBezTo>
                  <a:cubicBezTo>
                    <a:pt x="213" y="178"/>
                    <a:pt x="236" y="229"/>
                    <a:pt x="221" y="280"/>
                  </a:cubicBezTo>
                  <a:cubicBezTo>
                    <a:pt x="219" y="288"/>
                    <a:pt x="232" y="369"/>
                    <a:pt x="197" y="376"/>
                  </a:cubicBezTo>
                  <a:cubicBezTo>
                    <a:pt x="143" y="386"/>
                    <a:pt x="47" y="258"/>
                    <a:pt x="21" y="178"/>
                  </a:cubicBezTo>
                  <a:cubicBezTo>
                    <a:pt x="0" y="117"/>
                    <a:pt x="2" y="62"/>
                    <a:pt x="5" y="31"/>
                  </a:cubicBezTo>
                  <a:cubicBezTo>
                    <a:pt x="56" y="21"/>
                    <a:pt x="107" y="10"/>
                    <a:pt x="157" y="0"/>
                  </a:cubicBez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3" name="Freeform 11">
              <a:extLst>
                <a:ext uri="{FF2B5EF4-FFF2-40B4-BE49-F238E27FC236}">
                  <a16:creationId xmlns:a16="http://schemas.microsoft.com/office/drawing/2014/main" id="{1ED2AE95-6532-9578-3269-B9253B9A9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7240" y="4914795"/>
              <a:ext cx="153432" cy="160300"/>
            </a:xfrm>
            <a:custGeom>
              <a:avLst/>
              <a:gdLst>
                <a:gd name="T0" fmla="*/ 144 w 359"/>
                <a:gd name="T1" fmla="*/ 20 h 375"/>
                <a:gd name="T2" fmla="*/ 45 w 359"/>
                <a:gd name="T3" fmla="*/ 113 h 375"/>
                <a:gd name="T4" fmla="*/ 66 w 359"/>
                <a:gd name="T5" fmla="*/ 274 h 375"/>
                <a:gd name="T6" fmla="*/ 208 w 359"/>
                <a:gd name="T7" fmla="*/ 369 h 375"/>
                <a:gd name="T8" fmla="*/ 341 w 359"/>
                <a:gd name="T9" fmla="*/ 315 h 375"/>
                <a:gd name="T10" fmla="*/ 356 w 359"/>
                <a:gd name="T11" fmla="*/ 229 h 375"/>
                <a:gd name="T12" fmla="*/ 326 w 359"/>
                <a:gd name="T13" fmla="*/ 83 h 375"/>
                <a:gd name="T14" fmla="*/ 144 w 359"/>
                <a:gd name="T15" fmla="*/ 2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9" h="375">
                  <a:moveTo>
                    <a:pt x="144" y="20"/>
                  </a:moveTo>
                  <a:cubicBezTo>
                    <a:pt x="82" y="36"/>
                    <a:pt x="52" y="96"/>
                    <a:pt x="45" y="113"/>
                  </a:cubicBezTo>
                  <a:cubicBezTo>
                    <a:pt x="0" y="216"/>
                    <a:pt x="62" y="269"/>
                    <a:pt x="66" y="274"/>
                  </a:cubicBezTo>
                  <a:cubicBezTo>
                    <a:pt x="70" y="279"/>
                    <a:pt x="119" y="360"/>
                    <a:pt x="208" y="369"/>
                  </a:cubicBezTo>
                  <a:cubicBezTo>
                    <a:pt x="219" y="370"/>
                    <a:pt x="300" y="375"/>
                    <a:pt x="341" y="315"/>
                  </a:cubicBezTo>
                  <a:cubicBezTo>
                    <a:pt x="351" y="300"/>
                    <a:pt x="354" y="267"/>
                    <a:pt x="356" y="229"/>
                  </a:cubicBezTo>
                  <a:cubicBezTo>
                    <a:pt x="359" y="163"/>
                    <a:pt x="336" y="112"/>
                    <a:pt x="326" y="83"/>
                  </a:cubicBezTo>
                  <a:cubicBezTo>
                    <a:pt x="306" y="31"/>
                    <a:pt x="226" y="0"/>
                    <a:pt x="144" y="20"/>
                  </a:cubicBezTo>
                  <a:close/>
                </a:path>
              </a:pathLst>
            </a:custGeom>
            <a:solidFill>
              <a:srgbClr val="EFD5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4" name="Freeform 12">
              <a:extLst>
                <a:ext uri="{FF2B5EF4-FFF2-40B4-BE49-F238E27FC236}">
                  <a16:creationId xmlns:a16="http://schemas.microsoft.com/office/drawing/2014/main" id="{F99A787E-51EE-88CB-765C-E78F0596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17" y="5106720"/>
              <a:ext cx="103011" cy="154517"/>
            </a:xfrm>
            <a:custGeom>
              <a:avLst/>
              <a:gdLst>
                <a:gd name="T0" fmla="*/ 350 w 570"/>
                <a:gd name="T1" fmla="*/ 0 h 855"/>
                <a:gd name="T2" fmla="*/ 294 w 570"/>
                <a:gd name="T3" fmla="*/ 97 h 855"/>
                <a:gd name="T4" fmla="*/ 365 w 570"/>
                <a:gd name="T5" fmla="*/ 480 h 855"/>
                <a:gd name="T6" fmla="*/ 140 w 570"/>
                <a:gd name="T7" fmla="*/ 104 h 855"/>
                <a:gd name="T8" fmla="*/ 57 w 570"/>
                <a:gd name="T9" fmla="*/ 33 h 855"/>
                <a:gd name="T10" fmla="*/ 0 w 570"/>
                <a:gd name="T11" fmla="*/ 118 h 855"/>
                <a:gd name="T12" fmla="*/ 294 w 570"/>
                <a:gd name="T13" fmla="*/ 603 h 855"/>
                <a:gd name="T14" fmla="*/ 365 w 570"/>
                <a:gd name="T15" fmla="*/ 855 h 855"/>
                <a:gd name="T16" fmla="*/ 459 w 570"/>
                <a:gd name="T17" fmla="*/ 768 h 855"/>
                <a:gd name="T18" fmla="*/ 570 w 570"/>
                <a:gd name="T19" fmla="*/ 446 h 855"/>
                <a:gd name="T20" fmla="*/ 570 w 570"/>
                <a:gd name="T21" fmla="*/ 227 h 855"/>
                <a:gd name="T22" fmla="*/ 480 w 570"/>
                <a:gd name="T23" fmla="*/ 68 h 855"/>
                <a:gd name="T24" fmla="*/ 350 w 570"/>
                <a:gd name="T25" fmla="*/ 0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0" h="855">
                  <a:moveTo>
                    <a:pt x="350" y="0"/>
                  </a:moveTo>
                  <a:lnTo>
                    <a:pt x="294" y="97"/>
                  </a:lnTo>
                  <a:lnTo>
                    <a:pt x="365" y="480"/>
                  </a:lnTo>
                  <a:lnTo>
                    <a:pt x="140" y="104"/>
                  </a:lnTo>
                  <a:lnTo>
                    <a:pt x="57" y="33"/>
                  </a:lnTo>
                  <a:lnTo>
                    <a:pt x="0" y="118"/>
                  </a:lnTo>
                  <a:lnTo>
                    <a:pt x="294" y="603"/>
                  </a:lnTo>
                  <a:lnTo>
                    <a:pt x="365" y="855"/>
                  </a:lnTo>
                  <a:lnTo>
                    <a:pt x="459" y="768"/>
                  </a:lnTo>
                  <a:lnTo>
                    <a:pt x="570" y="446"/>
                  </a:lnTo>
                  <a:lnTo>
                    <a:pt x="570" y="227"/>
                  </a:lnTo>
                  <a:lnTo>
                    <a:pt x="480" y="68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5" name="Freeform 13">
              <a:extLst>
                <a:ext uri="{FF2B5EF4-FFF2-40B4-BE49-F238E27FC236}">
                  <a16:creationId xmlns:a16="http://schemas.microsoft.com/office/drawing/2014/main" id="{FCCCAB74-AAB7-A7B7-5BD5-FE1390658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9769" y="5065155"/>
              <a:ext cx="43554" cy="68855"/>
            </a:xfrm>
            <a:custGeom>
              <a:avLst/>
              <a:gdLst>
                <a:gd name="T0" fmla="*/ 0 w 102"/>
                <a:gd name="T1" fmla="*/ 0 h 161"/>
                <a:gd name="T2" fmla="*/ 0 w 102"/>
                <a:gd name="T3" fmla="*/ 52 h 161"/>
                <a:gd name="T4" fmla="*/ 59 w 102"/>
                <a:gd name="T5" fmla="*/ 161 h 161"/>
                <a:gd name="T6" fmla="*/ 102 w 102"/>
                <a:gd name="T7" fmla="*/ 80 h 161"/>
                <a:gd name="T8" fmla="*/ 47 w 102"/>
                <a:gd name="T9" fmla="*/ 42 h 161"/>
                <a:gd name="T10" fmla="*/ 0 w 102"/>
                <a:gd name="T1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61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59" y="161"/>
                    <a:pt x="59" y="161"/>
                    <a:pt x="59" y="161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102" y="80"/>
                    <a:pt x="77" y="68"/>
                    <a:pt x="47" y="42"/>
                  </a:cubicBezTo>
                  <a:cubicBezTo>
                    <a:pt x="17" y="1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6" name="Freeform 14">
              <a:extLst>
                <a:ext uri="{FF2B5EF4-FFF2-40B4-BE49-F238E27FC236}">
                  <a16:creationId xmlns:a16="http://schemas.microsoft.com/office/drawing/2014/main" id="{E4419707-68A8-6168-2AF6-282B52046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504" y="5084492"/>
              <a:ext cx="106445" cy="133191"/>
            </a:xfrm>
            <a:custGeom>
              <a:avLst/>
              <a:gdLst>
                <a:gd name="T0" fmla="*/ 80 w 249"/>
                <a:gd name="T1" fmla="*/ 0 h 312"/>
                <a:gd name="T2" fmla="*/ 33 w 249"/>
                <a:gd name="T3" fmla="*/ 52 h 312"/>
                <a:gd name="T4" fmla="*/ 80 w 249"/>
                <a:gd name="T5" fmla="*/ 93 h 312"/>
                <a:gd name="T6" fmla="*/ 0 w 249"/>
                <a:gd name="T7" fmla="*/ 193 h 312"/>
                <a:gd name="T8" fmla="*/ 249 w 249"/>
                <a:gd name="T9" fmla="*/ 312 h 312"/>
                <a:gd name="T10" fmla="*/ 220 w 249"/>
                <a:gd name="T11" fmla="*/ 230 h 312"/>
                <a:gd name="T12" fmla="*/ 80 w 249"/>
                <a:gd name="T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312">
                  <a:moveTo>
                    <a:pt x="80" y="0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249" y="312"/>
                    <a:pt x="249" y="312"/>
                    <a:pt x="249" y="312"/>
                  </a:cubicBezTo>
                  <a:cubicBezTo>
                    <a:pt x="249" y="312"/>
                    <a:pt x="248" y="271"/>
                    <a:pt x="220" y="230"/>
                  </a:cubicBezTo>
                  <a:cubicBezTo>
                    <a:pt x="192" y="189"/>
                    <a:pt x="80" y="0"/>
                    <a:pt x="80" y="0"/>
                  </a:cubicBezTo>
                  <a:close/>
                </a:path>
              </a:pathLst>
            </a:custGeom>
            <a:solidFill>
              <a:srgbClr val="5B67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7" name="Freeform 15">
              <a:extLst>
                <a:ext uri="{FF2B5EF4-FFF2-40B4-BE49-F238E27FC236}">
                  <a16:creationId xmlns:a16="http://schemas.microsoft.com/office/drawing/2014/main" id="{668EAF75-777D-AE1B-9B0C-E982411BF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937" y="5104552"/>
              <a:ext cx="47349" cy="115842"/>
            </a:xfrm>
            <a:custGeom>
              <a:avLst/>
              <a:gdLst>
                <a:gd name="T0" fmla="*/ 6 w 111"/>
                <a:gd name="T1" fmla="*/ 0 h 271"/>
                <a:gd name="T2" fmla="*/ 6 w 111"/>
                <a:gd name="T3" fmla="*/ 93 h 271"/>
                <a:gd name="T4" fmla="*/ 27 w 111"/>
                <a:gd name="T5" fmla="*/ 144 h 271"/>
                <a:gd name="T6" fmla="*/ 15 w 111"/>
                <a:gd name="T7" fmla="*/ 271 h 271"/>
                <a:gd name="T8" fmla="*/ 111 w 111"/>
                <a:gd name="T9" fmla="*/ 166 h 271"/>
                <a:gd name="T10" fmla="*/ 63 w 111"/>
                <a:gd name="T11" fmla="*/ 109 h 271"/>
                <a:gd name="T12" fmla="*/ 102 w 111"/>
                <a:gd name="T13" fmla="*/ 109 h 271"/>
                <a:gd name="T14" fmla="*/ 6 w 111"/>
                <a:gd name="T15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271">
                  <a:moveTo>
                    <a:pt x="6" y="0"/>
                  </a:moveTo>
                  <a:cubicBezTo>
                    <a:pt x="6" y="0"/>
                    <a:pt x="0" y="60"/>
                    <a:pt x="6" y="93"/>
                  </a:cubicBezTo>
                  <a:cubicBezTo>
                    <a:pt x="12" y="125"/>
                    <a:pt x="27" y="144"/>
                    <a:pt x="27" y="144"/>
                  </a:cubicBezTo>
                  <a:cubicBezTo>
                    <a:pt x="15" y="271"/>
                    <a:pt x="15" y="271"/>
                    <a:pt x="15" y="271"/>
                  </a:cubicBezTo>
                  <a:cubicBezTo>
                    <a:pt x="111" y="166"/>
                    <a:pt x="111" y="166"/>
                    <a:pt x="111" y="166"/>
                  </a:cubicBezTo>
                  <a:cubicBezTo>
                    <a:pt x="63" y="109"/>
                    <a:pt x="63" y="109"/>
                    <a:pt x="63" y="109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2" y="109"/>
                    <a:pt x="55" y="27"/>
                    <a:pt x="6" y="0"/>
                  </a:cubicBezTo>
                  <a:close/>
                </a:path>
              </a:pathLst>
            </a:custGeom>
            <a:solidFill>
              <a:srgbClr val="5B67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8" name="Freeform 16">
              <a:extLst>
                <a:ext uri="{FF2B5EF4-FFF2-40B4-BE49-F238E27FC236}">
                  <a16:creationId xmlns:a16="http://schemas.microsoft.com/office/drawing/2014/main" id="{2D38A710-0E81-939F-E709-8505E2F3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913" y="5075094"/>
              <a:ext cx="43915" cy="63614"/>
            </a:xfrm>
            <a:custGeom>
              <a:avLst/>
              <a:gdLst>
                <a:gd name="T0" fmla="*/ 4 w 103"/>
                <a:gd name="T1" fmla="*/ 88 h 149"/>
                <a:gd name="T2" fmla="*/ 103 w 103"/>
                <a:gd name="T3" fmla="*/ 149 h 149"/>
                <a:gd name="T4" fmla="*/ 55 w 103"/>
                <a:gd name="T5" fmla="*/ 41 h 149"/>
                <a:gd name="T6" fmla="*/ 0 w 103"/>
                <a:gd name="T7" fmla="*/ 0 h 149"/>
                <a:gd name="T8" fmla="*/ 4 w 103"/>
                <a:gd name="T9" fmla="*/ 47 h 149"/>
                <a:gd name="T10" fmla="*/ 4 w 103"/>
                <a:gd name="T11" fmla="*/ 8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49">
                  <a:moveTo>
                    <a:pt x="4" y="88"/>
                  </a:moveTo>
                  <a:cubicBezTo>
                    <a:pt x="103" y="149"/>
                    <a:pt x="103" y="149"/>
                    <a:pt x="103" y="149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" y="20"/>
                    <a:pt x="4" y="47"/>
                  </a:cubicBezTo>
                  <a:cubicBezTo>
                    <a:pt x="3" y="74"/>
                    <a:pt x="4" y="88"/>
                    <a:pt x="4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09" name="Freeform 17">
              <a:extLst>
                <a:ext uri="{FF2B5EF4-FFF2-40B4-BE49-F238E27FC236}">
                  <a16:creationId xmlns:a16="http://schemas.microsoft.com/office/drawing/2014/main" id="{6BB875E3-2EC2-C14C-A77D-BD4878F92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541" y="4897265"/>
              <a:ext cx="210179" cy="241443"/>
            </a:xfrm>
            <a:custGeom>
              <a:avLst/>
              <a:gdLst>
                <a:gd name="T0" fmla="*/ 180 w 492"/>
                <a:gd name="T1" fmla="*/ 401 h 565"/>
                <a:gd name="T2" fmla="*/ 134 w 492"/>
                <a:gd name="T3" fmla="*/ 467 h 565"/>
                <a:gd name="T4" fmla="*/ 21 w 492"/>
                <a:gd name="T5" fmla="*/ 467 h 565"/>
                <a:gd name="T6" fmla="*/ 29 w 492"/>
                <a:gd name="T7" fmla="*/ 329 h 565"/>
                <a:gd name="T8" fmla="*/ 60 w 492"/>
                <a:gd name="T9" fmla="*/ 87 h 565"/>
                <a:gd name="T10" fmla="*/ 138 w 492"/>
                <a:gd name="T11" fmla="*/ 38 h 565"/>
                <a:gd name="T12" fmla="*/ 208 w 492"/>
                <a:gd name="T13" fmla="*/ 2 h 565"/>
                <a:gd name="T14" fmla="*/ 374 w 492"/>
                <a:gd name="T15" fmla="*/ 124 h 565"/>
                <a:gd name="T16" fmla="*/ 391 w 492"/>
                <a:gd name="T17" fmla="*/ 306 h 565"/>
                <a:gd name="T18" fmla="*/ 450 w 492"/>
                <a:gd name="T19" fmla="*/ 467 h 565"/>
                <a:gd name="T20" fmla="*/ 492 w 492"/>
                <a:gd name="T21" fmla="*/ 565 h 565"/>
                <a:gd name="T22" fmla="*/ 403 w 492"/>
                <a:gd name="T23" fmla="*/ 515 h 565"/>
                <a:gd name="T24" fmla="*/ 360 w 492"/>
                <a:gd name="T25" fmla="*/ 450 h 565"/>
                <a:gd name="T26" fmla="*/ 340 w 492"/>
                <a:gd name="T27" fmla="*/ 468 h 565"/>
                <a:gd name="T28" fmla="*/ 329 w 492"/>
                <a:gd name="T29" fmla="*/ 380 h 565"/>
                <a:gd name="T30" fmla="*/ 351 w 492"/>
                <a:gd name="T31" fmla="*/ 291 h 565"/>
                <a:gd name="T32" fmla="*/ 337 w 492"/>
                <a:gd name="T33" fmla="*/ 222 h 565"/>
                <a:gd name="T34" fmla="*/ 240 w 492"/>
                <a:gd name="T35" fmla="*/ 163 h 565"/>
                <a:gd name="T36" fmla="*/ 201 w 492"/>
                <a:gd name="T37" fmla="*/ 90 h 565"/>
                <a:gd name="T38" fmla="*/ 145 w 492"/>
                <a:gd name="T39" fmla="*/ 90 h 565"/>
                <a:gd name="T40" fmla="*/ 92 w 492"/>
                <a:gd name="T41" fmla="*/ 202 h 565"/>
                <a:gd name="T42" fmla="*/ 101 w 492"/>
                <a:gd name="T43" fmla="*/ 260 h 565"/>
                <a:gd name="T44" fmla="*/ 84 w 492"/>
                <a:gd name="T45" fmla="*/ 276 h 565"/>
                <a:gd name="T46" fmla="*/ 112 w 492"/>
                <a:gd name="T47" fmla="*/ 329 h 565"/>
                <a:gd name="T48" fmla="*/ 132 w 492"/>
                <a:gd name="T49" fmla="*/ 326 h 565"/>
                <a:gd name="T50" fmla="*/ 180 w 492"/>
                <a:gd name="T51" fmla="*/ 401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2" h="565">
                  <a:moveTo>
                    <a:pt x="180" y="401"/>
                  </a:moveTo>
                  <a:cubicBezTo>
                    <a:pt x="180" y="401"/>
                    <a:pt x="182" y="442"/>
                    <a:pt x="134" y="467"/>
                  </a:cubicBezTo>
                  <a:cubicBezTo>
                    <a:pt x="86" y="491"/>
                    <a:pt x="21" y="467"/>
                    <a:pt x="21" y="467"/>
                  </a:cubicBezTo>
                  <a:cubicBezTo>
                    <a:pt x="21" y="467"/>
                    <a:pt x="30" y="399"/>
                    <a:pt x="29" y="329"/>
                  </a:cubicBezTo>
                  <a:cubicBezTo>
                    <a:pt x="27" y="259"/>
                    <a:pt x="0" y="141"/>
                    <a:pt x="60" y="87"/>
                  </a:cubicBezTo>
                  <a:cubicBezTo>
                    <a:pt x="120" y="33"/>
                    <a:pt x="138" y="38"/>
                    <a:pt x="138" y="38"/>
                  </a:cubicBezTo>
                  <a:cubicBezTo>
                    <a:pt x="138" y="38"/>
                    <a:pt x="157" y="0"/>
                    <a:pt x="208" y="2"/>
                  </a:cubicBezTo>
                  <a:cubicBezTo>
                    <a:pt x="259" y="3"/>
                    <a:pt x="352" y="74"/>
                    <a:pt x="374" y="124"/>
                  </a:cubicBezTo>
                  <a:cubicBezTo>
                    <a:pt x="396" y="173"/>
                    <a:pt x="383" y="268"/>
                    <a:pt x="391" y="306"/>
                  </a:cubicBezTo>
                  <a:cubicBezTo>
                    <a:pt x="399" y="343"/>
                    <a:pt x="414" y="407"/>
                    <a:pt x="450" y="467"/>
                  </a:cubicBezTo>
                  <a:cubicBezTo>
                    <a:pt x="485" y="526"/>
                    <a:pt x="492" y="565"/>
                    <a:pt x="492" y="565"/>
                  </a:cubicBezTo>
                  <a:cubicBezTo>
                    <a:pt x="492" y="565"/>
                    <a:pt x="430" y="549"/>
                    <a:pt x="403" y="515"/>
                  </a:cubicBezTo>
                  <a:cubicBezTo>
                    <a:pt x="375" y="480"/>
                    <a:pt x="360" y="450"/>
                    <a:pt x="360" y="450"/>
                  </a:cubicBezTo>
                  <a:cubicBezTo>
                    <a:pt x="340" y="468"/>
                    <a:pt x="340" y="468"/>
                    <a:pt x="340" y="468"/>
                  </a:cubicBezTo>
                  <a:cubicBezTo>
                    <a:pt x="340" y="468"/>
                    <a:pt x="320" y="408"/>
                    <a:pt x="329" y="380"/>
                  </a:cubicBezTo>
                  <a:cubicBezTo>
                    <a:pt x="329" y="380"/>
                    <a:pt x="357" y="343"/>
                    <a:pt x="351" y="291"/>
                  </a:cubicBezTo>
                  <a:cubicBezTo>
                    <a:pt x="344" y="239"/>
                    <a:pt x="337" y="222"/>
                    <a:pt x="337" y="222"/>
                  </a:cubicBezTo>
                  <a:cubicBezTo>
                    <a:pt x="337" y="222"/>
                    <a:pt x="285" y="212"/>
                    <a:pt x="240" y="163"/>
                  </a:cubicBezTo>
                  <a:cubicBezTo>
                    <a:pt x="207" y="128"/>
                    <a:pt x="201" y="90"/>
                    <a:pt x="201" y="90"/>
                  </a:cubicBezTo>
                  <a:cubicBezTo>
                    <a:pt x="201" y="90"/>
                    <a:pt x="175" y="80"/>
                    <a:pt x="145" y="90"/>
                  </a:cubicBezTo>
                  <a:cubicBezTo>
                    <a:pt x="116" y="100"/>
                    <a:pt x="83" y="143"/>
                    <a:pt x="92" y="202"/>
                  </a:cubicBezTo>
                  <a:cubicBezTo>
                    <a:pt x="101" y="260"/>
                    <a:pt x="101" y="260"/>
                    <a:pt x="101" y="260"/>
                  </a:cubicBezTo>
                  <a:cubicBezTo>
                    <a:pt x="101" y="260"/>
                    <a:pt x="85" y="254"/>
                    <a:pt x="84" y="276"/>
                  </a:cubicBezTo>
                  <a:cubicBezTo>
                    <a:pt x="83" y="298"/>
                    <a:pt x="95" y="317"/>
                    <a:pt x="112" y="329"/>
                  </a:cubicBezTo>
                  <a:cubicBezTo>
                    <a:pt x="129" y="341"/>
                    <a:pt x="132" y="326"/>
                    <a:pt x="132" y="326"/>
                  </a:cubicBezTo>
                  <a:cubicBezTo>
                    <a:pt x="132" y="326"/>
                    <a:pt x="155" y="375"/>
                    <a:pt x="180" y="401"/>
                  </a:cubicBezTo>
                  <a:close/>
                </a:path>
              </a:pathLst>
            </a:custGeom>
            <a:solidFill>
              <a:srgbClr val="837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0" name="Freeform 18">
              <a:extLst>
                <a:ext uri="{FF2B5EF4-FFF2-40B4-BE49-F238E27FC236}">
                  <a16:creationId xmlns:a16="http://schemas.microsoft.com/office/drawing/2014/main" id="{6AB043A5-0F4A-8136-BA45-DAEBF82F1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552" y="6008700"/>
              <a:ext cx="93071" cy="60542"/>
            </a:xfrm>
            <a:custGeom>
              <a:avLst/>
              <a:gdLst>
                <a:gd name="T0" fmla="*/ 0 w 218"/>
                <a:gd name="T1" fmla="*/ 57 h 142"/>
                <a:gd name="T2" fmla="*/ 0 w 218"/>
                <a:gd name="T3" fmla="*/ 94 h 142"/>
                <a:gd name="T4" fmla="*/ 84 w 218"/>
                <a:gd name="T5" fmla="*/ 124 h 142"/>
                <a:gd name="T6" fmla="*/ 218 w 218"/>
                <a:gd name="T7" fmla="*/ 139 h 142"/>
                <a:gd name="T8" fmla="*/ 218 w 218"/>
                <a:gd name="T9" fmla="*/ 90 h 142"/>
                <a:gd name="T10" fmla="*/ 129 w 218"/>
                <a:gd name="T11" fmla="*/ 23 h 142"/>
                <a:gd name="T12" fmla="*/ 0 w 218"/>
                <a:gd name="T13" fmla="*/ 5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42">
                  <a:moveTo>
                    <a:pt x="0" y="57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0" y="106"/>
                    <a:pt x="84" y="124"/>
                  </a:cubicBezTo>
                  <a:cubicBezTo>
                    <a:pt x="157" y="142"/>
                    <a:pt x="218" y="139"/>
                    <a:pt x="218" y="139"/>
                  </a:cubicBezTo>
                  <a:cubicBezTo>
                    <a:pt x="218" y="90"/>
                    <a:pt x="218" y="90"/>
                    <a:pt x="218" y="90"/>
                  </a:cubicBezTo>
                  <a:cubicBezTo>
                    <a:pt x="218" y="90"/>
                    <a:pt x="180" y="36"/>
                    <a:pt x="129" y="23"/>
                  </a:cubicBezTo>
                  <a:cubicBezTo>
                    <a:pt x="44" y="0"/>
                    <a:pt x="0" y="57"/>
                    <a:pt x="0" y="57"/>
                  </a:cubicBezTo>
                  <a:close/>
                </a:path>
              </a:pathLst>
            </a:custGeom>
            <a:solidFill>
              <a:srgbClr val="5953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1" name="Freeform 19">
              <a:extLst>
                <a:ext uri="{FF2B5EF4-FFF2-40B4-BE49-F238E27FC236}">
                  <a16:creationId xmlns:a16="http://schemas.microsoft.com/office/drawing/2014/main" id="{5B0B36CD-8E94-EEDC-2871-B7E7FF5D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408" y="4913891"/>
              <a:ext cx="70481" cy="70120"/>
            </a:xfrm>
            <a:custGeom>
              <a:avLst/>
              <a:gdLst>
                <a:gd name="T0" fmla="*/ 165 w 165"/>
                <a:gd name="T1" fmla="*/ 42 h 164"/>
                <a:gd name="T2" fmla="*/ 93 w 165"/>
                <a:gd name="T3" fmla="*/ 125 h 164"/>
                <a:gd name="T4" fmla="*/ 0 w 165"/>
                <a:gd name="T5" fmla="*/ 164 h 164"/>
                <a:gd name="T6" fmla="*/ 165 w 165"/>
                <a:gd name="T7" fmla="*/ 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5" h="164">
                  <a:moveTo>
                    <a:pt x="165" y="42"/>
                  </a:moveTo>
                  <a:cubicBezTo>
                    <a:pt x="165" y="42"/>
                    <a:pt x="133" y="94"/>
                    <a:pt x="93" y="125"/>
                  </a:cubicBezTo>
                  <a:cubicBezTo>
                    <a:pt x="45" y="162"/>
                    <a:pt x="0" y="164"/>
                    <a:pt x="0" y="164"/>
                  </a:cubicBezTo>
                  <a:cubicBezTo>
                    <a:pt x="0" y="164"/>
                    <a:pt x="26" y="0"/>
                    <a:pt x="165" y="42"/>
                  </a:cubicBezTo>
                  <a:close/>
                </a:path>
              </a:pathLst>
            </a:custGeom>
            <a:solidFill>
              <a:srgbClr val="837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2" name="Freeform 20">
              <a:extLst>
                <a:ext uri="{FF2B5EF4-FFF2-40B4-BE49-F238E27FC236}">
                  <a16:creationId xmlns:a16="http://schemas.microsoft.com/office/drawing/2014/main" id="{DC4DD91D-1651-3E97-34BF-CD3F7E353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2966" y="4994673"/>
              <a:ext cx="353671" cy="422526"/>
            </a:xfrm>
            <a:custGeom>
              <a:avLst/>
              <a:gdLst>
                <a:gd name="T0" fmla="*/ 1203 w 1957"/>
                <a:gd name="T1" fmla="*/ 0 h 2338"/>
                <a:gd name="T2" fmla="*/ 1704 w 1957"/>
                <a:gd name="T3" fmla="*/ 161 h 2338"/>
                <a:gd name="T4" fmla="*/ 1957 w 1957"/>
                <a:gd name="T5" fmla="*/ 761 h 2338"/>
                <a:gd name="T6" fmla="*/ 1534 w 1957"/>
                <a:gd name="T7" fmla="*/ 1227 h 2338"/>
                <a:gd name="T8" fmla="*/ 1609 w 1957"/>
                <a:gd name="T9" fmla="*/ 2331 h 2338"/>
                <a:gd name="T10" fmla="*/ 156 w 1957"/>
                <a:gd name="T11" fmla="*/ 2338 h 2338"/>
                <a:gd name="T12" fmla="*/ 243 w 1957"/>
                <a:gd name="T13" fmla="*/ 1329 h 2338"/>
                <a:gd name="T14" fmla="*/ 0 w 1957"/>
                <a:gd name="T15" fmla="*/ 1173 h 2338"/>
                <a:gd name="T16" fmla="*/ 16 w 1957"/>
                <a:gd name="T17" fmla="*/ 412 h 2338"/>
                <a:gd name="T18" fmla="*/ 198 w 1957"/>
                <a:gd name="T19" fmla="*/ 168 h 2338"/>
                <a:gd name="T20" fmla="*/ 619 w 1957"/>
                <a:gd name="T21" fmla="*/ 33 h 2338"/>
                <a:gd name="T22" fmla="*/ 1203 w 1957"/>
                <a:gd name="T23" fmla="*/ 0 h 2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57" h="2338">
                  <a:moveTo>
                    <a:pt x="1203" y="0"/>
                  </a:moveTo>
                  <a:lnTo>
                    <a:pt x="1704" y="161"/>
                  </a:lnTo>
                  <a:lnTo>
                    <a:pt x="1957" y="761"/>
                  </a:lnTo>
                  <a:lnTo>
                    <a:pt x="1534" y="1227"/>
                  </a:lnTo>
                  <a:lnTo>
                    <a:pt x="1609" y="2331"/>
                  </a:lnTo>
                  <a:lnTo>
                    <a:pt x="156" y="2338"/>
                  </a:lnTo>
                  <a:lnTo>
                    <a:pt x="243" y="1329"/>
                  </a:lnTo>
                  <a:lnTo>
                    <a:pt x="0" y="1173"/>
                  </a:lnTo>
                  <a:lnTo>
                    <a:pt x="16" y="412"/>
                  </a:lnTo>
                  <a:lnTo>
                    <a:pt x="198" y="168"/>
                  </a:lnTo>
                  <a:lnTo>
                    <a:pt x="619" y="33"/>
                  </a:lnTo>
                  <a:lnTo>
                    <a:pt x="1203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3" name="Freeform 21">
              <a:extLst>
                <a:ext uri="{FF2B5EF4-FFF2-40B4-BE49-F238E27FC236}">
                  <a16:creationId xmlns:a16="http://schemas.microsoft.com/office/drawing/2014/main" id="{7A90FD06-F8A6-B6FA-0557-FCCF78831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928" y="4950216"/>
              <a:ext cx="88011" cy="83312"/>
            </a:xfrm>
            <a:custGeom>
              <a:avLst/>
              <a:gdLst>
                <a:gd name="T0" fmla="*/ 487 w 487"/>
                <a:gd name="T1" fmla="*/ 220 h 461"/>
                <a:gd name="T2" fmla="*/ 463 w 487"/>
                <a:gd name="T3" fmla="*/ 0 h 461"/>
                <a:gd name="T4" fmla="*/ 28 w 487"/>
                <a:gd name="T5" fmla="*/ 0 h 461"/>
                <a:gd name="T6" fmla="*/ 0 w 487"/>
                <a:gd name="T7" fmla="*/ 220 h 461"/>
                <a:gd name="T8" fmla="*/ 251 w 487"/>
                <a:gd name="T9" fmla="*/ 461 h 461"/>
                <a:gd name="T10" fmla="*/ 487 w 487"/>
                <a:gd name="T11" fmla="*/ 22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7" h="461">
                  <a:moveTo>
                    <a:pt x="487" y="220"/>
                  </a:moveTo>
                  <a:lnTo>
                    <a:pt x="463" y="0"/>
                  </a:lnTo>
                  <a:lnTo>
                    <a:pt x="28" y="0"/>
                  </a:lnTo>
                  <a:lnTo>
                    <a:pt x="0" y="220"/>
                  </a:lnTo>
                  <a:lnTo>
                    <a:pt x="251" y="461"/>
                  </a:lnTo>
                  <a:lnTo>
                    <a:pt x="487" y="220"/>
                  </a:lnTo>
                  <a:close/>
                </a:path>
              </a:pathLst>
            </a:custGeom>
            <a:solidFill>
              <a:srgbClr val="6D4B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4" name="Freeform 22">
              <a:extLst>
                <a:ext uri="{FF2B5EF4-FFF2-40B4-BE49-F238E27FC236}">
                  <a16:creationId xmlns:a16="http://schemas.microsoft.com/office/drawing/2014/main" id="{DDBCE604-D9A7-D9C2-E2B6-5570048D5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170" y="4984372"/>
              <a:ext cx="67409" cy="78252"/>
            </a:xfrm>
            <a:custGeom>
              <a:avLst/>
              <a:gdLst>
                <a:gd name="T0" fmla="*/ 0 w 373"/>
                <a:gd name="T1" fmla="*/ 109 h 433"/>
                <a:gd name="T2" fmla="*/ 137 w 373"/>
                <a:gd name="T3" fmla="*/ 0 h 433"/>
                <a:gd name="T4" fmla="*/ 373 w 373"/>
                <a:gd name="T5" fmla="*/ 178 h 433"/>
                <a:gd name="T6" fmla="*/ 373 w 373"/>
                <a:gd name="T7" fmla="*/ 433 h 433"/>
                <a:gd name="T8" fmla="*/ 0 w 373"/>
                <a:gd name="T9" fmla="*/ 1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433">
                  <a:moveTo>
                    <a:pt x="0" y="109"/>
                  </a:moveTo>
                  <a:lnTo>
                    <a:pt x="137" y="0"/>
                  </a:lnTo>
                  <a:lnTo>
                    <a:pt x="373" y="178"/>
                  </a:lnTo>
                  <a:lnTo>
                    <a:pt x="373" y="433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5" name="Freeform 23">
              <a:extLst>
                <a:ext uri="{FF2B5EF4-FFF2-40B4-BE49-F238E27FC236}">
                  <a16:creationId xmlns:a16="http://schemas.microsoft.com/office/drawing/2014/main" id="{2803BFA8-A9D5-96ED-93B8-108AFBD76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289" y="4982384"/>
              <a:ext cx="58373" cy="80240"/>
            </a:xfrm>
            <a:custGeom>
              <a:avLst/>
              <a:gdLst>
                <a:gd name="T0" fmla="*/ 0 w 323"/>
                <a:gd name="T1" fmla="*/ 189 h 444"/>
                <a:gd name="T2" fmla="*/ 0 w 323"/>
                <a:gd name="T3" fmla="*/ 444 h 444"/>
                <a:gd name="T4" fmla="*/ 208 w 323"/>
                <a:gd name="T5" fmla="*/ 305 h 444"/>
                <a:gd name="T6" fmla="*/ 323 w 323"/>
                <a:gd name="T7" fmla="*/ 92 h 444"/>
                <a:gd name="T8" fmla="*/ 234 w 323"/>
                <a:gd name="T9" fmla="*/ 0 h 444"/>
                <a:gd name="T10" fmla="*/ 0 w 323"/>
                <a:gd name="T11" fmla="*/ 189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3" h="444">
                  <a:moveTo>
                    <a:pt x="0" y="189"/>
                  </a:moveTo>
                  <a:lnTo>
                    <a:pt x="0" y="444"/>
                  </a:lnTo>
                  <a:lnTo>
                    <a:pt x="208" y="305"/>
                  </a:lnTo>
                  <a:lnTo>
                    <a:pt x="323" y="92"/>
                  </a:lnTo>
                  <a:lnTo>
                    <a:pt x="234" y="0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6" name="Freeform 24">
              <a:extLst>
                <a:ext uri="{FF2B5EF4-FFF2-40B4-BE49-F238E27FC236}">
                  <a16:creationId xmlns:a16="http://schemas.microsoft.com/office/drawing/2014/main" id="{B47D39D0-4CBC-24F5-8AD8-0C853FEE9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9108" y="6048820"/>
              <a:ext cx="167890" cy="88915"/>
            </a:xfrm>
            <a:custGeom>
              <a:avLst/>
              <a:gdLst>
                <a:gd name="T0" fmla="*/ 0 w 393"/>
                <a:gd name="T1" fmla="*/ 82 h 208"/>
                <a:gd name="T2" fmla="*/ 8 w 393"/>
                <a:gd name="T3" fmla="*/ 145 h 208"/>
                <a:gd name="T4" fmla="*/ 228 w 393"/>
                <a:gd name="T5" fmla="*/ 204 h 208"/>
                <a:gd name="T6" fmla="*/ 365 w 393"/>
                <a:gd name="T7" fmla="*/ 208 h 208"/>
                <a:gd name="T8" fmla="*/ 391 w 393"/>
                <a:gd name="T9" fmla="*/ 176 h 208"/>
                <a:gd name="T10" fmla="*/ 345 w 393"/>
                <a:gd name="T11" fmla="*/ 140 h 208"/>
                <a:gd name="T12" fmla="*/ 134 w 393"/>
                <a:gd name="T13" fmla="*/ 58 h 208"/>
                <a:gd name="T14" fmla="*/ 69 w 393"/>
                <a:gd name="T15" fmla="*/ 0 h 208"/>
                <a:gd name="T16" fmla="*/ 0 w 393"/>
                <a:gd name="T17" fmla="*/ 8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3" h="208">
                  <a:moveTo>
                    <a:pt x="0" y="82"/>
                  </a:move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137" y="201"/>
                    <a:pt x="228" y="204"/>
                  </a:cubicBezTo>
                  <a:cubicBezTo>
                    <a:pt x="319" y="208"/>
                    <a:pt x="365" y="208"/>
                    <a:pt x="365" y="208"/>
                  </a:cubicBezTo>
                  <a:cubicBezTo>
                    <a:pt x="365" y="208"/>
                    <a:pt x="393" y="194"/>
                    <a:pt x="391" y="176"/>
                  </a:cubicBezTo>
                  <a:cubicBezTo>
                    <a:pt x="388" y="143"/>
                    <a:pt x="345" y="140"/>
                    <a:pt x="345" y="140"/>
                  </a:cubicBezTo>
                  <a:cubicBezTo>
                    <a:pt x="345" y="140"/>
                    <a:pt x="182" y="103"/>
                    <a:pt x="134" y="58"/>
                  </a:cubicBezTo>
                  <a:cubicBezTo>
                    <a:pt x="87" y="13"/>
                    <a:pt x="69" y="0"/>
                    <a:pt x="69" y="0"/>
                  </a:cubicBezTo>
                  <a:lnTo>
                    <a:pt x="0" y="82"/>
                  </a:ln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7" name="Freeform 25">
              <a:extLst>
                <a:ext uri="{FF2B5EF4-FFF2-40B4-BE49-F238E27FC236}">
                  <a16:creationId xmlns:a16="http://schemas.microsoft.com/office/drawing/2014/main" id="{87E3CA61-409E-0F01-AEF1-034A27403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4111" y="6052615"/>
              <a:ext cx="161023" cy="103011"/>
            </a:xfrm>
            <a:custGeom>
              <a:avLst/>
              <a:gdLst>
                <a:gd name="T0" fmla="*/ 369 w 377"/>
                <a:gd name="T1" fmla="*/ 88 h 241"/>
                <a:gd name="T2" fmla="*/ 377 w 377"/>
                <a:gd name="T3" fmla="*/ 149 h 241"/>
                <a:gd name="T4" fmla="*/ 200 w 377"/>
                <a:gd name="T5" fmla="*/ 216 h 241"/>
                <a:gd name="T6" fmla="*/ 26 w 377"/>
                <a:gd name="T7" fmla="*/ 241 h 241"/>
                <a:gd name="T8" fmla="*/ 3 w 377"/>
                <a:gd name="T9" fmla="*/ 214 h 241"/>
                <a:gd name="T10" fmla="*/ 33 w 377"/>
                <a:gd name="T11" fmla="*/ 171 h 241"/>
                <a:gd name="T12" fmla="*/ 238 w 377"/>
                <a:gd name="T13" fmla="*/ 69 h 241"/>
                <a:gd name="T14" fmla="*/ 292 w 377"/>
                <a:gd name="T15" fmla="*/ 0 h 241"/>
                <a:gd name="T16" fmla="*/ 369 w 377"/>
                <a:gd name="T17" fmla="*/ 8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7" h="241">
                  <a:moveTo>
                    <a:pt x="369" y="88"/>
                  </a:moveTo>
                  <a:cubicBezTo>
                    <a:pt x="377" y="149"/>
                    <a:pt x="377" y="149"/>
                    <a:pt x="377" y="149"/>
                  </a:cubicBezTo>
                  <a:cubicBezTo>
                    <a:pt x="377" y="149"/>
                    <a:pt x="290" y="196"/>
                    <a:pt x="200" y="216"/>
                  </a:cubicBezTo>
                  <a:cubicBezTo>
                    <a:pt x="111" y="235"/>
                    <a:pt x="26" y="241"/>
                    <a:pt x="26" y="241"/>
                  </a:cubicBezTo>
                  <a:cubicBezTo>
                    <a:pt x="26" y="241"/>
                    <a:pt x="5" y="239"/>
                    <a:pt x="3" y="214"/>
                  </a:cubicBezTo>
                  <a:cubicBezTo>
                    <a:pt x="0" y="180"/>
                    <a:pt x="33" y="171"/>
                    <a:pt x="33" y="171"/>
                  </a:cubicBezTo>
                  <a:cubicBezTo>
                    <a:pt x="33" y="171"/>
                    <a:pt x="199" y="122"/>
                    <a:pt x="238" y="69"/>
                  </a:cubicBezTo>
                  <a:cubicBezTo>
                    <a:pt x="277" y="16"/>
                    <a:pt x="292" y="0"/>
                    <a:pt x="292" y="0"/>
                  </a:cubicBezTo>
                  <a:lnTo>
                    <a:pt x="369" y="88"/>
                  </a:ln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8" name="Freeform 26">
              <a:extLst>
                <a:ext uri="{FF2B5EF4-FFF2-40B4-BE49-F238E27FC236}">
                  <a16:creationId xmlns:a16="http://schemas.microsoft.com/office/drawing/2014/main" id="{91CBE89D-CBBB-BEC8-902F-2390342EC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158" y="5421175"/>
              <a:ext cx="277226" cy="677162"/>
            </a:xfrm>
            <a:custGeom>
              <a:avLst/>
              <a:gdLst>
                <a:gd name="T0" fmla="*/ 611 w 649"/>
                <a:gd name="T1" fmla="*/ 0 h 1585"/>
                <a:gd name="T2" fmla="*/ 649 w 649"/>
                <a:gd name="T3" fmla="*/ 831 h 1585"/>
                <a:gd name="T4" fmla="*/ 637 w 649"/>
                <a:gd name="T5" fmla="*/ 1564 h 1585"/>
                <a:gd name="T6" fmla="*/ 424 w 649"/>
                <a:gd name="T7" fmla="*/ 1564 h 1585"/>
                <a:gd name="T8" fmla="*/ 384 w 649"/>
                <a:gd name="T9" fmla="*/ 879 h 1585"/>
                <a:gd name="T10" fmla="*/ 390 w 649"/>
                <a:gd name="T11" fmla="*/ 859 h 1585"/>
                <a:gd name="T12" fmla="*/ 395 w 649"/>
                <a:gd name="T13" fmla="*/ 853 h 1585"/>
                <a:gd name="T14" fmla="*/ 398 w 649"/>
                <a:gd name="T15" fmla="*/ 820 h 1585"/>
                <a:gd name="T16" fmla="*/ 387 w 649"/>
                <a:gd name="T17" fmla="*/ 799 h 1585"/>
                <a:gd name="T18" fmla="*/ 383 w 649"/>
                <a:gd name="T19" fmla="*/ 787 h 1585"/>
                <a:gd name="T20" fmla="*/ 347 w 649"/>
                <a:gd name="T21" fmla="*/ 325 h 1585"/>
                <a:gd name="T22" fmla="*/ 289 w 649"/>
                <a:gd name="T23" fmla="*/ 325 h 1585"/>
                <a:gd name="T24" fmla="*/ 275 w 649"/>
                <a:gd name="T25" fmla="*/ 797 h 1585"/>
                <a:gd name="T26" fmla="*/ 272 w 649"/>
                <a:gd name="T27" fmla="*/ 808 h 1585"/>
                <a:gd name="T28" fmla="*/ 257 w 649"/>
                <a:gd name="T29" fmla="*/ 832 h 1585"/>
                <a:gd name="T30" fmla="*/ 255 w 649"/>
                <a:gd name="T31" fmla="*/ 852 h 1585"/>
                <a:gd name="T32" fmla="*/ 263 w 649"/>
                <a:gd name="T33" fmla="*/ 873 h 1585"/>
                <a:gd name="T34" fmla="*/ 265 w 649"/>
                <a:gd name="T35" fmla="*/ 882 h 1585"/>
                <a:gd name="T36" fmla="*/ 236 w 649"/>
                <a:gd name="T37" fmla="*/ 1575 h 1585"/>
                <a:gd name="T38" fmla="*/ 24 w 649"/>
                <a:gd name="T39" fmla="*/ 1585 h 1585"/>
                <a:gd name="T40" fmla="*/ 14 w 649"/>
                <a:gd name="T41" fmla="*/ 811 h 1585"/>
                <a:gd name="T42" fmla="*/ 0 w 649"/>
                <a:gd name="T43" fmla="*/ 6 h 1585"/>
                <a:gd name="T44" fmla="*/ 611 w 649"/>
                <a:gd name="T45" fmla="*/ 0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" h="1585">
                  <a:moveTo>
                    <a:pt x="611" y="0"/>
                  </a:moveTo>
                  <a:cubicBezTo>
                    <a:pt x="649" y="831"/>
                    <a:pt x="649" y="831"/>
                    <a:pt x="649" y="831"/>
                  </a:cubicBezTo>
                  <a:cubicBezTo>
                    <a:pt x="637" y="1564"/>
                    <a:pt x="637" y="1564"/>
                    <a:pt x="637" y="1564"/>
                  </a:cubicBezTo>
                  <a:cubicBezTo>
                    <a:pt x="424" y="1564"/>
                    <a:pt x="424" y="1564"/>
                    <a:pt x="424" y="1564"/>
                  </a:cubicBezTo>
                  <a:cubicBezTo>
                    <a:pt x="384" y="879"/>
                    <a:pt x="384" y="879"/>
                    <a:pt x="384" y="879"/>
                  </a:cubicBezTo>
                  <a:cubicBezTo>
                    <a:pt x="384" y="872"/>
                    <a:pt x="386" y="865"/>
                    <a:pt x="390" y="859"/>
                  </a:cubicBezTo>
                  <a:cubicBezTo>
                    <a:pt x="395" y="853"/>
                    <a:pt x="395" y="853"/>
                    <a:pt x="395" y="853"/>
                  </a:cubicBezTo>
                  <a:cubicBezTo>
                    <a:pt x="402" y="843"/>
                    <a:pt x="403" y="831"/>
                    <a:pt x="398" y="820"/>
                  </a:cubicBezTo>
                  <a:cubicBezTo>
                    <a:pt x="387" y="799"/>
                    <a:pt x="387" y="799"/>
                    <a:pt x="387" y="799"/>
                  </a:cubicBezTo>
                  <a:cubicBezTo>
                    <a:pt x="385" y="795"/>
                    <a:pt x="383" y="791"/>
                    <a:pt x="383" y="787"/>
                  </a:cubicBezTo>
                  <a:cubicBezTo>
                    <a:pt x="347" y="325"/>
                    <a:pt x="347" y="325"/>
                    <a:pt x="347" y="325"/>
                  </a:cubicBezTo>
                  <a:cubicBezTo>
                    <a:pt x="289" y="325"/>
                    <a:pt x="289" y="325"/>
                    <a:pt x="289" y="325"/>
                  </a:cubicBezTo>
                  <a:cubicBezTo>
                    <a:pt x="275" y="797"/>
                    <a:pt x="275" y="797"/>
                    <a:pt x="275" y="797"/>
                  </a:cubicBezTo>
                  <a:cubicBezTo>
                    <a:pt x="275" y="801"/>
                    <a:pt x="274" y="805"/>
                    <a:pt x="272" y="808"/>
                  </a:cubicBezTo>
                  <a:cubicBezTo>
                    <a:pt x="257" y="832"/>
                    <a:pt x="257" y="832"/>
                    <a:pt x="257" y="832"/>
                  </a:cubicBezTo>
                  <a:cubicBezTo>
                    <a:pt x="253" y="838"/>
                    <a:pt x="253" y="845"/>
                    <a:pt x="255" y="852"/>
                  </a:cubicBezTo>
                  <a:cubicBezTo>
                    <a:pt x="263" y="873"/>
                    <a:pt x="263" y="873"/>
                    <a:pt x="263" y="873"/>
                  </a:cubicBezTo>
                  <a:cubicBezTo>
                    <a:pt x="264" y="876"/>
                    <a:pt x="265" y="879"/>
                    <a:pt x="265" y="882"/>
                  </a:cubicBezTo>
                  <a:cubicBezTo>
                    <a:pt x="236" y="1575"/>
                    <a:pt x="236" y="1575"/>
                    <a:pt x="236" y="1575"/>
                  </a:cubicBezTo>
                  <a:cubicBezTo>
                    <a:pt x="24" y="1585"/>
                    <a:pt x="24" y="1585"/>
                    <a:pt x="24" y="1585"/>
                  </a:cubicBezTo>
                  <a:cubicBezTo>
                    <a:pt x="14" y="811"/>
                    <a:pt x="14" y="811"/>
                    <a:pt x="14" y="811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611" y="0"/>
                  </a:lnTo>
                  <a:close/>
                </a:path>
              </a:pathLst>
            </a:custGeom>
            <a:solidFill>
              <a:srgbClr val="373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19" name="Freeform 27">
              <a:extLst>
                <a:ext uri="{FF2B5EF4-FFF2-40B4-BE49-F238E27FC236}">
                  <a16:creationId xmlns:a16="http://schemas.microsoft.com/office/drawing/2014/main" id="{3E64A9E0-CF54-A2A1-7090-8224D1512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8206" y="4792085"/>
              <a:ext cx="146565" cy="193733"/>
            </a:xfrm>
            <a:custGeom>
              <a:avLst/>
              <a:gdLst>
                <a:gd name="T0" fmla="*/ 312 w 343"/>
                <a:gd name="T1" fmla="*/ 212 h 453"/>
                <a:gd name="T2" fmla="*/ 291 w 343"/>
                <a:gd name="T3" fmla="*/ 94 h 453"/>
                <a:gd name="T4" fmla="*/ 291 w 343"/>
                <a:gd name="T5" fmla="*/ 94 h 453"/>
                <a:gd name="T6" fmla="*/ 292 w 343"/>
                <a:gd name="T7" fmla="*/ 93 h 453"/>
                <a:gd name="T8" fmla="*/ 94 w 343"/>
                <a:gd name="T9" fmla="*/ 35 h 453"/>
                <a:gd name="T10" fmla="*/ 19 w 343"/>
                <a:gd name="T11" fmla="*/ 118 h 453"/>
                <a:gd name="T12" fmla="*/ 21 w 343"/>
                <a:gd name="T13" fmla="*/ 228 h 453"/>
                <a:gd name="T14" fmla="*/ 12 w 343"/>
                <a:gd name="T15" fmla="*/ 254 h 453"/>
                <a:gd name="T16" fmla="*/ 16 w 343"/>
                <a:gd name="T17" fmla="*/ 288 h 453"/>
                <a:gd name="T18" fmla="*/ 37 w 343"/>
                <a:gd name="T19" fmla="*/ 319 h 453"/>
                <a:gd name="T20" fmla="*/ 45 w 343"/>
                <a:gd name="T21" fmla="*/ 325 h 453"/>
                <a:gd name="T22" fmla="*/ 49 w 343"/>
                <a:gd name="T23" fmla="*/ 326 h 453"/>
                <a:gd name="T24" fmla="*/ 64 w 343"/>
                <a:gd name="T25" fmla="*/ 376 h 453"/>
                <a:gd name="T26" fmla="*/ 127 w 343"/>
                <a:gd name="T27" fmla="*/ 436 h 453"/>
                <a:gd name="T28" fmla="*/ 240 w 343"/>
                <a:gd name="T29" fmla="*/ 413 h 453"/>
                <a:gd name="T30" fmla="*/ 263 w 343"/>
                <a:gd name="T31" fmla="*/ 393 h 453"/>
                <a:gd name="T32" fmla="*/ 294 w 343"/>
                <a:gd name="T33" fmla="*/ 303 h 453"/>
                <a:gd name="T34" fmla="*/ 339 w 343"/>
                <a:gd name="T35" fmla="*/ 257 h 453"/>
                <a:gd name="T36" fmla="*/ 312 w 343"/>
                <a:gd name="T37" fmla="*/ 212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3" h="453">
                  <a:moveTo>
                    <a:pt x="312" y="212"/>
                  </a:moveTo>
                  <a:cubicBezTo>
                    <a:pt x="320" y="169"/>
                    <a:pt x="312" y="127"/>
                    <a:pt x="291" y="94"/>
                  </a:cubicBezTo>
                  <a:cubicBezTo>
                    <a:pt x="291" y="94"/>
                    <a:pt x="291" y="94"/>
                    <a:pt x="291" y="94"/>
                  </a:cubicBezTo>
                  <a:cubicBezTo>
                    <a:pt x="291" y="94"/>
                    <a:pt x="292" y="94"/>
                    <a:pt x="292" y="93"/>
                  </a:cubicBezTo>
                  <a:cubicBezTo>
                    <a:pt x="256" y="21"/>
                    <a:pt x="164" y="0"/>
                    <a:pt x="94" y="35"/>
                  </a:cubicBezTo>
                  <a:cubicBezTo>
                    <a:pt x="60" y="53"/>
                    <a:pt x="33" y="82"/>
                    <a:pt x="19" y="118"/>
                  </a:cubicBezTo>
                  <a:cubicBezTo>
                    <a:pt x="8" y="149"/>
                    <a:pt x="0" y="199"/>
                    <a:pt x="21" y="228"/>
                  </a:cubicBezTo>
                  <a:cubicBezTo>
                    <a:pt x="10" y="228"/>
                    <a:pt x="9" y="239"/>
                    <a:pt x="12" y="254"/>
                  </a:cubicBezTo>
                  <a:cubicBezTo>
                    <a:pt x="10" y="264"/>
                    <a:pt x="13" y="278"/>
                    <a:pt x="16" y="288"/>
                  </a:cubicBezTo>
                  <a:cubicBezTo>
                    <a:pt x="20" y="302"/>
                    <a:pt x="26" y="314"/>
                    <a:pt x="37" y="319"/>
                  </a:cubicBezTo>
                  <a:cubicBezTo>
                    <a:pt x="40" y="322"/>
                    <a:pt x="42" y="324"/>
                    <a:pt x="45" y="325"/>
                  </a:cubicBezTo>
                  <a:cubicBezTo>
                    <a:pt x="46" y="326"/>
                    <a:pt x="47" y="326"/>
                    <a:pt x="49" y="326"/>
                  </a:cubicBezTo>
                  <a:cubicBezTo>
                    <a:pt x="52" y="343"/>
                    <a:pt x="57" y="360"/>
                    <a:pt x="64" y="376"/>
                  </a:cubicBezTo>
                  <a:cubicBezTo>
                    <a:pt x="77" y="406"/>
                    <a:pt x="100" y="427"/>
                    <a:pt x="127" y="436"/>
                  </a:cubicBezTo>
                  <a:cubicBezTo>
                    <a:pt x="163" y="453"/>
                    <a:pt x="224" y="448"/>
                    <a:pt x="240" y="413"/>
                  </a:cubicBezTo>
                  <a:cubicBezTo>
                    <a:pt x="248" y="407"/>
                    <a:pt x="256" y="401"/>
                    <a:pt x="263" y="393"/>
                  </a:cubicBezTo>
                  <a:cubicBezTo>
                    <a:pt x="283" y="368"/>
                    <a:pt x="296" y="335"/>
                    <a:pt x="294" y="303"/>
                  </a:cubicBezTo>
                  <a:cubicBezTo>
                    <a:pt x="317" y="310"/>
                    <a:pt x="335" y="275"/>
                    <a:pt x="339" y="257"/>
                  </a:cubicBezTo>
                  <a:cubicBezTo>
                    <a:pt x="343" y="236"/>
                    <a:pt x="335" y="212"/>
                    <a:pt x="312" y="212"/>
                  </a:cubicBezTo>
                  <a:close/>
                </a:path>
              </a:pathLst>
            </a:custGeom>
            <a:solidFill>
              <a:srgbClr val="6D4B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0" name="Freeform 28">
              <a:extLst>
                <a:ext uri="{FF2B5EF4-FFF2-40B4-BE49-F238E27FC236}">
                  <a16:creationId xmlns:a16="http://schemas.microsoft.com/office/drawing/2014/main" id="{98199980-A663-0526-3320-EF8E3CBD0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254" y="5013107"/>
              <a:ext cx="76626" cy="357105"/>
            </a:xfrm>
            <a:custGeom>
              <a:avLst/>
              <a:gdLst>
                <a:gd name="T0" fmla="*/ 174 w 179"/>
                <a:gd name="T1" fmla="*/ 571 h 836"/>
                <a:gd name="T2" fmla="*/ 167 w 179"/>
                <a:gd name="T3" fmla="*/ 506 h 836"/>
                <a:gd name="T4" fmla="*/ 166 w 179"/>
                <a:gd name="T5" fmla="*/ 445 h 836"/>
                <a:gd name="T6" fmla="*/ 159 w 179"/>
                <a:gd name="T7" fmla="*/ 325 h 836"/>
                <a:gd name="T8" fmla="*/ 140 w 179"/>
                <a:gd name="T9" fmla="*/ 200 h 836"/>
                <a:gd name="T10" fmla="*/ 111 w 179"/>
                <a:gd name="T11" fmla="*/ 86 h 836"/>
                <a:gd name="T12" fmla="*/ 128 w 179"/>
                <a:gd name="T13" fmla="*/ 73 h 836"/>
                <a:gd name="T14" fmla="*/ 129 w 179"/>
                <a:gd name="T15" fmla="*/ 68 h 836"/>
                <a:gd name="T16" fmla="*/ 130 w 179"/>
                <a:gd name="T17" fmla="*/ 66 h 836"/>
                <a:gd name="T18" fmla="*/ 108 w 179"/>
                <a:gd name="T19" fmla="*/ 10 h 836"/>
                <a:gd name="T20" fmla="*/ 109 w 179"/>
                <a:gd name="T21" fmla="*/ 9 h 836"/>
                <a:gd name="T22" fmla="*/ 109 w 179"/>
                <a:gd name="T23" fmla="*/ 9 h 836"/>
                <a:gd name="T24" fmla="*/ 86 w 179"/>
                <a:gd name="T25" fmla="*/ 0 h 836"/>
                <a:gd name="T26" fmla="*/ 66 w 179"/>
                <a:gd name="T27" fmla="*/ 6 h 836"/>
                <a:gd name="T28" fmla="*/ 63 w 179"/>
                <a:gd name="T29" fmla="*/ 7 h 836"/>
                <a:gd name="T30" fmla="*/ 48 w 179"/>
                <a:gd name="T31" fmla="*/ 43 h 836"/>
                <a:gd name="T32" fmla="*/ 50 w 179"/>
                <a:gd name="T33" fmla="*/ 74 h 836"/>
                <a:gd name="T34" fmla="*/ 52 w 179"/>
                <a:gd name="T35" fmla="*/ 79 h 836"/>
                <a:gd name="T36" fmla="*/ 58 w 179"/>
                <a:gd name="T37" fmla="*/ 83 h 836"/>
                <a:gd name="T38" fmla="*/ 32 w 179"/>
                <a:gd name="T39" fmla="*/ 168 h 836"/>
                <a:gd name="T40" fmla="*/ 11 w 179"/>
                <a:gd name="T41" fmla="*/ 269 h 836"/>
                <a:gd name="T42" fmla="*/ 2 w 179"/>
                <a:gd name="T43" fmla="*/ 375 h 836"/>
                <a:gd name="T44" fmla="*/ 4 w 179"/>
                <a:gd name="T45" fmla="*/ 459 h 836"/>
                <a:gd name="T46" fmla="*/ 3 w 179"/>
                <a:gd name="T47" fmla="*/ 598 h 836"/>
                <a:gd name="T48" fmla="*/ 3 w 179"/>
                <a:gd name="T49" fmla="*/ 685 h 836"/>
                <a:gd name="T50" fmla="*/ 6 w 179"/>
                <a:gd name="T51" fmla="*/ 774 h 836"/>
                <a:gd name="T52" fmla="*/ 6 w 179"/>
                <a:gd name="T53" fmla="*/ 775 h 836"/>
                <a:gd name="T54" fmla="*/ 4 w 179"/>
                <a:gd name="T55" fmla="*/ 780 h 836"/>
                <a:gd name="T56" fmla="*/ 39 w 179"/>
                <a:gd name="T57" fmla="*/ 807 h 836"/>
                <a:gd name="T58" fmla="*/ 80 w 179"/>
                <a:gd name="T59" fmla="*/ 833 h 836"/>
                <a:gd name="T60" fmla="*/ 89 w 179"/>
                <a:gd name="T61" fmla="*/ 829 h 836"/>
                <a:gd name="T62" fmla="*/ 130 w 179"/>
                <a:gd name="T63" fmla="*/ 802 h 836"/>
                <a:gd name="T64" fmla="*/ 164 w 179"/>
                <a:gd name="T65" fmla="*/ 763 h 836"/>
                <a:gd name="T66" fmla="*/ 164 w 179"/>
                <a:gd name="T67" fmla="*/ 759 h 836"/>
                <a:gd name="T68" fmla="*/ 174 w 179"/>
                <a:gd name="T69" fmla="*/ 571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9" h="836">
                  <a:moveTo>
                    <a:pt x="174" y="571"/>
                  </a:moveTo>
                  <a:cubicBezTo>
                    <a:pt x="173" y="550"/>
                    <a:pt x="170" y="528"/>
                    <a:pt x="167" y="506"/>
                  </a:cubicBezTo>
                  <a:cubicBezTo>
                    <a:pt x="167" y="486"/>
                    <a:pt x="167" y="465"/>
                    <a:pt x="166" y="445"/>
                  </a:cubicBezTo>
                  <a:cubicBezTo>
                    <a:pt x="166" y="405"/>
                    <a:pt x="164" y="365"/>
                    <a:pt x="159" y="325"/>
                  </a:cubicBezTo>
                  <a:cubicBezTo>
                    <a:pt x="155" y="283"/>
                    <a:pt x="148" y="241"/>
                    <a:pt x="140" y="200"/>
                  </a:cubicBezTo>
                  <a:cubicBezTo>
                    <a:pt x="132" y="162"/>
                    <a:pt x="126" y="121"/>
                    <a:pt x="111" y="86"/>
                  </a:cubicBezTo>
                  <a:cubicBezTo>
                    <a:pt x="118" y="83"/>
                    <a:pt x="124" y="79"/>
                    <a:pt x="128" y="73"/>
                  </a:cubicBezTo>
                  <a:cubicBezTo>
                    <a:pt x="129" y="71"/>
                    <a:pt x="129" y="70"/>
                    <a:pt x="129" y="68"/>
                  </a:cubicBezTo>
                  <a:cubicBezTo>
                    <a:pt x="129" y="68"/>
                    <a:pt x="130" y="67"/>
                    <a:pt x="130" y="66"/>
                  </a:cubicBezTo>
                  <a:cubicBezTo>
                    <a:pt x="135" y="49"/>
                    <a:pt x="123" y="22"/>
                    <a:pt x="108" y="10"/>
                  </a:cubicBezTo>
                  <a:cubicBezTo>
                    <a:pt x="108" y="10"/>
                    <a:pt x="108" y="10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4" y="0"/>
                    <a:pt x="96" y="0"/>
                    <a:pt x="86" y="0"/>
                  </a:cubicBezTo>
                  <a:cubicBezTo>
                    <a:pt x="80" y="0"/>
                    <a:pt x="72" y="2"/>
                    <a:pt x="66" y="6"/>
                  </a:cubicBezTo>
                  <a:cubicBezTo>
                    <a:pt x="65" y="6"/>
                    <a:pt x="64" y="6"/>
                    <a:pt x="63" y="7"/>
                  </a:cubicBezTo>
                  <a:cubicBezTo>
                    <a:pt x="53" y="15"/>
                    <a:pt x="50" y="30"/>
                    <a:pt x="48" y="43"/>
                  </a:cubicBezTo>
                  <a:cubicBezTo>
                    <a:pt x="46" y="52"/>
                    <a:pt x="44" y="66"/>
                    <a:pt x="50" y="74"/>
                  </a:cubicBezTo>
                  <a:cubicBezTo>
                    <a:pt x="50" y="76"/>
                    <a:pt x="50" y="78"/>
                    <a:pt x="52" y="79"/>
                  </a:cubicBezTo>
                  <a:cubicBezTo>
                    <a:pt x="54" y="81"/>
                    <a:pt x="56" y="82"/>
                    <a:pt x="58" y="83"/>
                  </a:cubicBezTo>
                  <a:cubicBezTo>
                    <a:pt x="52" y="111"/>
                    <a:pt x="40" y="141"/>
                    <a:pt x="32" y="168"/>
                  </a:cubicBezTo>
                  <a:cubicBezTo>
                    <a:pt x="24" y="202"/>
                    <a:pt x="16" y="235"/>
                    <a:pt x="11" y="269"/>
                  </a:cubicBezTo>
                  <a:cubicBezTo>
                    <a:pt x="6" y="304"/>
                    <a:pt x="3" y="339"/>
                    <a:pt x="2" y="375"/>
                  </a:cubicBezTo>
                  <a:cubicBezTo>
                    <a:pt x="1" y="402"/>
                    <a:pt x="0" y="431"/>
                    <a:pt x="4" y="459"/>
                  </a:cubicBezTo>
                  <a:cubicBezTo>
                    <a:pt x="2" y="505"/>
                    <a:pt x="3" y="552"/>
                    <a:pt x="3" y="598"/>
                  </a:cubicBezTo>
                  <a:cubicBezTo>
                    <a:pt x="3" y="627"/>
                    <a:pt x="3" y="656"/>
                    <a:pt x="3" y="685"/>
                  </a:cubicBezTo>
                  <a:cubicBezTo>
                    <a:pt x="3" y="714"/>
                    <a:pt x="1" y="745"/>
                    <a:pt x="6" y="774"/>
                  </a:cubicBezTo>
                  <a:cubicBezTo>
                    <a:pt x="6" y="775"/>
                    <a:pt x="6" y="775"/>
                    <a:pt x="6" y="775"/>
                  </a:cubicBezTo>
                  <a:cubicBezTo>
                    <a:pt x="4" y="776"/>
                    <a:pt x="2" y="778"/>
                    <a:pt x="4" y="780"/>
                  </a:cubicBezTo>
                  <a:cubicBezTo>
                    <a:pt x="14" y="791"/>
                    <a:pt x="27" y="799"/>
                    <a:pt x="39" y="807"/>
                  </a:cubicBezTo>
                  <a:cubicBezTo>
                    <a:pt x="52" y="816"/>
                    <a:pt x="66" y="826"/>
                    <a:pt x="80" y="833"/>
                  </a:cubicBezTo>
                  <a:cubicBezTo>
                    <a:pt x="85" y="836"/>
                    <a:pt x="89" y="833"/>
                    <a:pt x="89" y="829"/>
                  </a:cubicBezTo>
                  <a:cubicBezTo>
                    <a:pt x="104" y="826"/>
                    <a:pt x="119" y="811"/>
                    <a:pt x="130" y="802"/>
                  </a:cubicBezTo>
                  <a:cubicBezTo>
                    <a:pt x="142" y="792"/>
                    <a:pt x="160" y="778"/>
                    <a:pt x="164" y="763"/>
                  </a:cubicBezTo>
                  <a:cubicBezTo>
                    <a:pt x="165" y="762"/>
                    <a:pt x="164" y="760"/>
                    <a:pt x="164" y="759"/>
                  </a:cubicBezTo>
                  <a:cubicBezTo>
                    <a:pt x="179" y="699"/>
                    <a:pt x="178" y="633"/>
                    <a:pt x="174" y="571"/>
                  </a:cubicBezTo>
                  <a:close/>
                </a:path>
              </a:pathLst>
            </a:custGeom>
            <a:solidFill>
              <a:srgbClr val="609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1" name="Freeform 29">
              <a:extLst>
                <a:ext uri="{FF2B5EF4-FFF2-40B4-BE49-F238E27FC236}">
                  <a16:creationId xmlns:a16="http://schemas.microsoft.com/office/drawing/2014/main" id="{278121C7-1F4E-8D5B-A0F8-ACFDAAC2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771" y="5118648"/>
              <a:ext cx="98674" cy="41385"/>
            </a:xfrm>
            <a:custGeom>
              <a:avLst/>
              <a:gdLst>
                <a:gd name="T0" fmla="*/ 211 w 231"/>
                <a:gd name="T1" fmla="*/ 40 h 97"/>
                <a:gd name="T2" fmla="*/ 202 w 231"/>
                <a:gd name="T3" fmla="*/ 28 h 97"/>
                <a:gd name="T4" fmla="*/ 183 w 231"/>
                <a:gd name="T5" fmla="*/ 25 h 97"/>
                <a:gd name="T6" fmla="*/ 161 w 231"/>
                <a:gd name="T7" fmla="*/ 16 h 97"/>
                <a:gd name="T8" fmla="*/ 158 w 231"/>
                <a:gd name="T9" fmla="*/ 16 h 97"/>
                <a:gd name="T10" fmla="*/ 157 w 231"/>
                <a:gd name="T11" fmla="*/ 16 h 97"/>
                <a:gd name="T12" fmla="*/ 91 w 231"/>
                <a:gd name="T13" fmla="*/ 27 h 97"/>
                <a:gd name="T14" fmla="*/ 6 w 231"/>
                <a:gd name="T15" fmla="*/ 84 h 97"/>
                <a:gd name="T16" fmla="*/ 6 w 231"/>
                <a:gd name="T17" fmla="*/ 85 h 97"/>
                <a:gd name="T18" fmla="*/ 6 w 231"/>
                <a:gd name="T19" fmla="*/ 94 h 97"/>
                <a:gd name="T20" fmla="*/ 169 w 231"/>
                <a:gd name="T21" fmla="*/ 79 h 97"/>
                <a:gd name="T22" fmla="*/ 211 w 231"/>
                <a:gd name="T23" fmla="*/ 4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1" h="97">
                  <a:moveTo>
                    <a:pt x="211" y="40"/>
                  </a:moveTo>
                  <a:cubicBezTo>
                    <a:pt x="209" y="35"/>
                    <a:pt x="206" y="30"/>
                    <a:pt x="202" y="28"/>
                  </a:cubicBezTo>
                  <a:cubicBezTo>
                    <a:pt x="196" y="24"/>
                    <a:pt x="190" y="23"/>
                    <a:pt x="183" y="25"/>
                  </a:cubicBezTo>
                  <a:cubicBezTo>
                    <a:pt x="177" y="20"/>
                    <a:pt x="169" y="17"/>
                    <a:pt x="161" y="16"/>
                  </a:cubicBezTo>
                  <a:cubicBezTo>
                    <a:pt x="160" y="16"/>
                    <a:pt x="159" y="16"/>
                    <a:pt x="158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35" y="0"/>
                    <a:pt x="111" y="16"/>
                    <a:pt x="91" y="27"/>
                  </a:cubicBezTo>
                  <a:cubicBezTo>
                    <a:pt x="61" y="43"/>
                    <a:pt x="33" y="62"/>
                    <a:pt x="6" y="84"/>
                  </a:cubicBezTo>
                  <a:cubicBezTo>
                    <a:pt x="6" y="84"/>
                    <a:pt x="6" y="84"/>
                    <a:pt x="6" y="85"/>
                  </a:cubicBezTo>
                  <a:cubicBezTo>
                    <a:pt x="0" y="85"/>
                    <a:pt x="0" y="94"/>
                    <a:pt x="6" y="94"/>
                  </a:cubicBezTo>
                  <a:cubicBezTo>
                    <a:pt x="60" y="97"/>
                    <a:pt x="116" y="91"/>
                    <a:pt x="169" y="79"/>
                  </a:cubicBezTo>
                  <a:cubicBezTo>
                    <a:pt x="182" y="76"/>
                    <a:pt x="231" y="62"/>
                    <a:pt x="211" y="40"/>
                  </a:cubicBezTo>
                  <a:close/>
                </a:path>
              </a:pathLst>
            </a:custGeom>
            <a:solidFill>
              <a:srgbClr val="6D4B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2" name="Freeform 30">
              <a:extLst>
                <a:ext uri="{FF2B5EF4-FFF2-40B4-BE49-F238E27FC236}">
                  <a16:creationId xmlns:a16="http://schemas.microsoft.com/office/drawing/2014/main" id="{387993A5-0212-03EE-C3AD-F0A676849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6037" y="4779434"/>
              <a:ext cx="147830" cy="126866"/>
            </a:xfrm>
            <a:custGeom>
              <a:avLst/>
              <a:gdLst>
                <a:gd name="T0" fmla="*/ 323 w 346"/>
                <a:gd name="T1" fmla="*/ 124 h 297"/>
                <a:gd name="T2" fmla="*/ 326 w 346"/>
                <a:gd name="T3" fmla="*/ 117 h 297"/>
                <a:gd name="T4" fmla="*/ 275 w 346"/>
                <a:gd name="T5" fmla="*/ 47 h 297"/>
                <a:gd name="T6" fmla="*/ 249 w 346"/>
                <a:gd name="T7" fmla="*/ 26 h 297"/>
                <a:gd name="T8" fmla="*/ 212 w 346"/>
                <a:gd name="T9" fmla="*/ 6 h 297"/>
                <a:gd name="T10" fmla="*/ 161 w 346"/>
                <a:gd name="T11" fmla="*/ 17 h 297"/>
                <a:gd name="T12" fmla="*/ 137 w 346"/>
                <a:gd name="T13" fmla="*/ 5 h 297"/>
                <a:gd name="T14" fmla="*/ 80 w 346"/>
                <a:gd name="T15" fmla="*/ 17 h 297"/>
                <a:gd name="T16" fmla="*/ 35 w 346"/>
                <a:gd name="T17" fmla="*/ 84 h 297"/>
                <a:gd name="T18" fmla="*/ 13 w 346"/>
                <a:gd name="T19" fmla="*/ 155 h 297"/>
                <a:gd name="T20" fmla="*/ 17 w 346"/>
                <a:gd name="T21" fmla="*/ 247 h 297"/>
                <a:gd name="T22" fmla="*/ 30 w 346"/>
                <a:gd name="T23" fmla="*/ 272 h 297"/>
                <a:gd name="T24" fmla="*/ 45 w 346"/>
                <a:gd name="T25" fmla="*/ 295 h 297"/>
                <a:gd name="T26" fmla="*/ 47 w 346"/>
                <a:gd name="T27" fmla="*/ 294 h 297"/>
                <a:gd name="T28" fmla="*/ 51 w 346"/>
                <a:gd name="T29" fmla="*/ 291 h 297"/>
                <a:gd name="T30" fmla="*/ 41 w 346"/>
                <a:gd name="T31" fmla="*/ 171 h 297"/>
                <a:gd name="T32" fmla="*/ 65 w 346"/>
                <a:gd name="T33" fmla="*/ 127 h 297"/>
                <a:gd name="T34" fmla="*/ 84 w 346"/>
                <a:gd name="T35" fmla="*/ 104 h 297"/>
                <a:gd name="T36" fmla="*/ 216 w 346"/>
                <a:gd name="T37" fmla="*/ 98 h 297"/>
                <a:gd name="T38" fmla="*/ 238 w 346"/>
                <a:gd name="T39" fmla="*/ 114 h 297"/>
                <a:gd name="T40" fmla="*/ 288 w 346"/>
                <a:gd name="T41" fmla="*/ 155 h 297"/>
                <a:gd name="T42" fmla="*/ 292 w 346"/>
                <a:gd name="T43" fmla="*/ 210 h 297"/>
                <a:gd name="T44" fmla="*/ 298 w 346"/>
                <a:gd name="T45" fmla="*/ 294 h 297"/>
                <a:gd name="T46" fmla="*/ 302 w 346"/>
                <a:gd name="T47" fmla="*/ 296 h 297"/>
                <a:gd name="T48" fmla="*/ 305 w 346"/>
                <a:gd name="T49" fmla="*/ 295 h 297"/>
                <a:gd name="T50" fmla="*/ 306 w 346"/>
                <a:gd name="T51" fmla="*/ 295 h 297"/>
                <a:gd name="T52" fmla="*/ 306 w 346"/>
                <a:gd name="T53" fmla="*/ 295 h 297"/>
                <a:gd name="T54" fmla="*/ 308 w 346"/>
                <a:gd name="T55" fmla="*/ 295 h 297"/>
                <a:gd name="T56" fmla="*/ 317 w 346"/>
                <a:gd name="T57" fmla="*/ 263 h 297"/>
                <a:gd name="T58" fmla="*/ 334 w 346"/>
                <a:gd name="T59" fmla="*/ 241 h 297"/>
                <a:gd name="T60" fmla="*/ 337 w 346"/>
                <a:gd name="T61" fmla="*/ 238 h 297"/>
                <a:gd name="T62" fmla="*/ 323 w 346"/>
                <a:gd name="T63" fmla="*/ 12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" h="297">
                  <a:moveTo>
                    <a:pt x="323" y="124"/>
                  </a:moveTo>
                  <a:cubicBezTo>
                    <a:pt x="325" y="122"/>
                    <a:pt x="326" y="119"/>
                    <a:pt x="326" y="117"/>
                  </a:cubicBezTo>
                  <a:cubicBezTo>
                    <a:pt x="317" y="89"/>
                    <a:pt x="296" y="66"/>
                    <a:pt x="275" y="47"/>
                  </a:cubicBezTo>
                  <a:cubicBezTo>
                    <a:pt x="267" y="40"/>
                    <a:pt x="258" y="32"/>
                    <a:pt x="249" y="26"/>
                  </a:cubicBezTo>
                  <a:cubicBezTo>
                    <a:pt x="238" y="16"/>
                    <a:pt x="227" y="9"/>
                    <a:pt x="212" y="6"/>
                  </a:cubicBezTo>
                  <a:cubicBezTo>
                    <a:pt x="192" y="1"/>
                    <a:pt x="173" y="4"/>
                    <a:pt x="161" y="17"/>
                  </a:cubicBezTo>
                  <a:cubicBezTo>
                    <a:pt x="153" y="11"/>
                    <a:pt x="144" y="7"/>
                    <a:pt x="137" y="5"/>
                  </a:cubicBezTo>
                  <a:cubicBezTo>
                    <a:pt x="117" y="0"/>
                    <a:pt x="96" y="5"/>
                    <a:pt x="80" y="17"/>
                  </a:cubicBezTo>
                  <a:cubicBezTo>
                    <a:pt x="59" y="34"/>
                    <a:pt x="46" y="60"/>
                    <a:pt x="35" y="84"/>
                  </a:cubicBezTo>
                  <a:cubicBezTo>
                    <a:pt x="25" y="107"/>
                    <a:pt x="17" y="131"/>
                    <a:pt x="13" y="155"/>
                  </a:cubicBezTo>
                  <a:cubicBezTo>
                    <a:pt x="0" y="183"/>
                    <a:pt x="4" y="220"/>
                    <a:pt x="17" y="247"/>
                  </a:cubicBezTo>
                  <a:cubicBezTo>
                    <a:pt x="18" y="256"/>
                    <a:pt x="25" y="264"/>
                    <a:pt x="30" y="272"/>
                  </a:cubicBezTo>
                  <a:cubicBezTo>
                    <a:pt x="34" y="280"/>
                    <a:pt x="39" y="288"/>
                    <a:pt x="45" y="295"/>
                  </a:cubicBezTo>
                  <a:cubicBezTo>
                    <a:pt x="46" y="296"/>
                    <a:pt x="47" y="295"/>
                    <a:pt x="47" y="294"/>
                  </a:cubicBezTo>
                  <a:cubicBezTo>
                    <a:pt x="49" y="295"/>
                    <a:pt x="51" y="294"/>
                    <a:pt x="51" y="291"/>
                  </a:cubicBezTo>
                  <a:cubicBezTo>
                    <a:pt x="50" y="252"/>
                    <a:pt x="47" y="211"/>
                    <a:pt x="41" y="171"/>
                  </a:cubicBezTo>
                  <a:cubicBezTo>
                    <a:pt x="48" y="156"/>
                    <a:pt x="55" y="141"/>
                    <a:pt x="65" y="127"/>
                  </a:cubicBezTo>
                  <a:cubicBezTo>
                    <a:pt x="70" y="119"/>
                    <a:pt x="77" y="111"/>
                    <a:pt x="84" y="104"/>
                  </a:cubicBezTo>
                  <a:cubicBezTo>
                    <a:pt x="124" y="122"/>
                    <a:pt x="181" y="126"/>
                    <a:pt x="216" y="98"/>
                  </a:cubicBezTo>
                  <a:cubicBezTo>
                    <a:pt x="223" y="103"/>
                    <a:pt x="231" y="108"/>
                    <a:pt x="238" y="114"/>
                  </a:cubicBezTo>
                  <a:cubicBezTo>
                    <a:pt x="255" y="127"/>
                    <a:pt x="271" y="142"/>
                    <a:pt x="288" y="155"/>
                  </a:cubicBezTo>
                  <a:cubicBezTo>
                    <a:pt x="288" y="174"/>
                    <a:pt x="291" y="193"/>
                    <a:pt x="292" y="210"/>
                  </a:cubicBezTo>
                  <a:cubicBezTo>
                    <a:pt x="294" y="238"/>
                    <a:pt x="293" y="266"/>
                    <a:pt x="298" y="294"/>
                  </a:cubicBezTo>
                  <a:cubicBezTo>
                    <a:pt x="298" y="296"/>
                    <a:pt x="300" y="297"/>
                    <a:pt x="302" y="296"/>
                  </a:cubicBezTo>
                  <a:cubicBezTo>
                    <a:pt x="303" y="296"/>
                    <a:pt x="304" y="295"/>
                    <a:pt x="305" y="295"/>
                  </a:cubicBezTo>
                  <a:cubicBezTo>
                    <a:pt x="305" y="295"/>
                    <a:pt x="305" y="295"/>
                    <a:pt x="306" y="295"/>
                  </a:cubicBezTo>
                  <a:cubicBezTo>
                    <a:pt x="306" y="295"/>
                    <a:pt x="306" y="295"/>
                    <a:pt x="306" y="295"/>
                  </a:cubicBezTo>
                  <a:cubicBezTo>
                    <a:pt x="306" y="296"/>
                    <a:pt x="308" y="296"/>
                    <a:pt x="308" y="295"/>
                  </a:cubicBezTo>
                  <a:cubicBezTo>
                    <a:pt x="312" y="285"/>
                    <a:pt x="312" y="274"/>
                    <a:pt x="317" y="263"/>
                  </a:cubicBezTo>
                  <a:cubicBezTo>
                    <a:pt x="322" y="256"/>
                    <a:pt x="330" y="249"/>
                    <a:pt x="334" y="241"/>
                  </a:cubicBezTo>
                  <a:cubicBezTo>
                    <a:pt x="335" y="241"/>
                    <a:pt x="336" y="240"/>
                    <a:pt x="337" y="238"/>
                  </a:cubicBezTo>
                  <a:cubicBezTo>
                    <a:pt x="346" y="199"/>
                    <a:pt x="340" y="159"/>
                    <a:pt x="323" y="124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3" name="Freeform 31">
              <a:extLst>
                <a:ext uri="{FF2B5EF4-FFF2-40B4-BE49-F238E27FC236}">
                  <a16:creationId xmlns:a16="http://schemas.microsoft.com/office/drawing/2014/main" id="{A2D85F8A-A31A-AEC1-26BB-DC5CE58A0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434" y="5132202"/>
              <a:ext cx="236202" cy="132107"/>
            </a:xfrm>
            <a:custGeom>
              <a:avLst/>
              <a:gdLst>
                <a:gd name="T0" fmla="*/ 6 w 553"/>
                <a:gd name="T1" fmla="*/ 72 h 309"/>
                <a:gd name="T2" fmla="*/ 422 w 553"/>
                <a:gd name="T3" fmla="*/ 44 h 309"/>
                <a:gd name="T4" fmla="*/ 553 w 553"/>
                <a:gd name="T5" fmla="*/ 0 h 309"/>
                <a:gd name="T6" fmla="*/ 546 w 553"/>
                <a:gd name="T7" fmla="*/ 187 h 309"/>
                <a:gd name="T8" fmla="*/ 518 w 553"/>
                <a:gd name="T9" fmla="*/ 237 h 309"/>
                <a:gd name="T10" fmla="*/ 377 w 553"/>
                <a:gd name="T11" fmla="*/ 292 h 309"/>
                <a:gd name="T12" fmla="*/ 0 w 553"/>
                <a:gd name="T13" fmla="*/ 174 h 309"/>
                <a:gd name="T14" fmla="*/ 6 w 553"/>
                <a:gd name="T15" fmla="*/ 72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3" h="309">
                  <a:moveTo>
                    <a:pt x="6" y="72"/>
                  </a:moveTo>
                  <a:cubicBezTo>
                    <a:pt x="422" y="44"/>
                    <a:pt x="422" y="44"/>
                    <a:pt x="422" y="44"/>
                  </a:cubicBezTo>
                  <a:cubicBezTo>
                    <a:pt x="553" y="0"/>
                    <a:pt x="553" y="0"/>
                    <a:pt x="553" y="0"/>
                  </a:cubicBezTo>
                  <a:cubicBezTo>
                    <a:pt x="546" y="187"/>
                    <a:pt x="546" y="187"/>
                    <a:pt x="546" y="187"/>
                  </a:cubicBezTo>
                  <a:cubicBezTo>
                    <a:pt x="518" y="237"/>
                    <a:pt x="518" y="237"/>
                    <a:pt x="518" y="237"/>
                  </a:cubicBezTo>
                  <a:cubicBezTo>
                    <a:pt x="490" y="286"/>
                    <a:pt x="431" y="309"/>
                    <a:pt x="377" y="292"/>
                  </a:cubicBezTo>
                  <a:cubicBezTo>
                    <a:pt x="0" y="174"/>
                    <a:pt x="0" y="174"/>
                    <a:pt x="0" y="174"/>
                  </a:cubicBezTo>
                  <a:lnTo>
                    <a:pt x="6" y="72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4" name="Freeform 32">
              <a:extLst>
                <a:ext uri="{FF2B5EF4-FFF2-40B4-BE49-F238E27FC236}">
                  <a16:creationId xmlns:a16="http://schemas.microsoft.com/office/drawing/2014/main" id="{5B7260C1-0DA3-2C3D-53B5-C71C27975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6159" y="5071661"/>
              <a:ext cx="259335" cy="207106"/>
            </a:xfrm>
            <a:custGeom>
              <a:avLst/>
              <a:gdLst>
                <a:gd name="T0" fmla="*/ 607 w 607"/>
                <a:gd name="T1" fmla="*/ 405 h 485"/>
                <a:gd name="T2" fmla="*/ 213 w 607"/>
                <a:gd name="T3" fmla="*/ 485 h 485"/>
                <a:gd name="T4" fmla="*/ 157 w 607"/>
                <a:gd name="T5" fmla="*/ 485 h 485"/>
                <a:gd name="T6" fmla="*/ 7 w 607"/>
                <a:gd name="T7" fmla="*/ 370 h 485"/>
                <a:gd name="T8" fmla="*/ 0 w 607"/>
                <a:gd name="T9" fmla="*/ 346 h 485"/>
                <a:gd name="T10" fmla="*/ 50 w 607"/>
                <a:gd name="T11" fmla="*/ 0 h 485"/>
                <a:gd name="T12" fmla="*/ 195 w 607"/>
                <a:gd name="T13" fmla="*/ 256 h 485"/>
                <a:gd name="T14" fmla="*/ 607 w 607"/>
                <a:gd name="T15" fmla="*/ 4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7" h="485">
                  <a:moveTo>
                    <a:pt x="607" y="405"/>
                  </a:moveTo>
                  <a:cubicBezTo>
                    <a:pt x="213" y="485"/>
                    <a:pt x="213" y="485"/>
                    <a:pt x="213" y="485"/>
                  </a:cubicBezTo>
                  <a:cubicBezTo>
                    <a:pt x="157" y="485"/>
                    <a:pt x="157" y="485"/>
                    <a:pt x="157" y="485"/>
                  </a:cubicBezTo>
                  <a:cubicBezTo>
                    <a:pt x="87" y="485"/>
                    <a:pt x="26" y="438"/>
                    <a:pt x="7" y="37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195" y="256"/>
                    <a:pt x="195" y="256"/>
                    <a:pt x="195" y="256"/>
                  </a:cubicBezTo>
                  <a:lnTo>
                    <a:pt x="607" y="405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5" name="Rectangle 33">
              <a:extLst>
                <a:ext uri="{FF2B5EF4-FFF2-40B4-BE49-F238E27FC236}">
                  <a16:creationId xmlns:a16="http://schemas.microsoft.com/office/drawing/2014/main" id="{3137EBCE-470E-3C78-9FC7-C3D9D8184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1158" y="5408706"/>
              <a:ext cx="263130" cy="29096"/>
            </a:xfrm>
            <a:prstGeom prst="rect">
              <a:avLst/>
            </a:prstGeom>
            <a:solidFill>
              <a:srgbClr val="2A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6" name="Rectangle 34">
              <a:extLst>
                <a:ext uri="{FF2B5EF4-FFF2-40B4-BE49-F238E27FC236}">
                  <a16:creationId xmlns:a16="http://schemas.microsoft.com/office/drawing/2014/main" id="{A10CDC2F-F12B-EF16-4A7E-9B5C3DE6C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796" y="5404910"/>
              <a:ext cx="55843" cy="3668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27" name="Freeform 35">
              <a:extLst>
                <a:ext uri="{FF2B5EF4-FFF2-40B4-BE49-F238E27FC236}">
                  <a16:creationId xmlns:a16="http://schemas.microsoft.com/office/drawing/2014/main" id="{AEF7D206-A220-49CE-48C7-15FD29194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784" y="5163105"/>
              <a:ext cx="60180" cy="36325"/>
            </a:xfrm>
            <a:custGeom>
              <a:avLst/>
              <a:gdLst>
                <a:gd name="T0" fmla="*/ 333 w 333"/>
                <a:gd name="T1" fmla="*/ 0 h 201"/>
                <a:gd name="T2" fmla="*/ 0 w 333"/>
                <a:gd name="T3" fmla="*/ 35 h 201"/>
                <a:gd name="T4" fmla="*/ 37 w 333"/>
                <a:gd name="T5" fmla="*/ 99 h 201"/>
                <a:gd name="T6" fmla="*/ 319 w 333"/>
                <a:gd name="T7" fmla="*/ 201 h 201"/>
                <a:gd name="T8" fmla="*/ 333 w 333"/>
                <a:gd name="T9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201">
                  <a:moveTo>
                    <a:pt x="333" y="0"/>
                  </a:moveTo>
                  <a:lnTo>
                    <a:pt x="0" y="35"/>
                  </a:lnTo>
                  <a:lnTo>
                    <a:pt x="37" y="99"/>
                  </a:lnTo>
                  <a:lnTo>
                    <a:pt x="319" y="201"/>
                  </a:lnTo>
                  <a:lnTo>
                    <a:pt x="333" y="0"/>
                  </a:lnTo>
                  <a:close/>
                </a:path>
              </a:pathLst>
            </a:custGeom>
            <a:solidFill>
              <a:srgbClr val="6D4B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grpSp>
          <p:nvGrpSpPr>
            <p:cNvPr id="32328" name="Group 32327">
              <a:extLst>
                <a:ext uri="{FF2B5EF4-FFF2-40B4-BE49-F238E27FC236}">
                  <a16:creationId xmlns:a16="http://schemas.microsoft.com/office/drawing/2014/main" id="{5FB95B21-9D2D-1224-6956-0EEA95D22339}"/>
                </a:ext>
              </a:extLst>
            </p:cNvPr>
            <p:cNvGrpSpPr/>
            <p:nvPr/>
          </p:nvGrpSpPr>
          <p:grpSpPr>
            <a:xfrm>
              <a:off x="3952830" y="4764797"/>
              <a:ext cx="600172" cy="1400588"/>
              <a:chOff x="3681293" y="4783591"/>
              <a:chExt cx="584452" cy="1363902"/>
            </a:xfrm>
          </p:grpSpPr>
          <p:sp>
            <p:nvSpPr>
              <p:cNvPr id="32378" name="Freeform 36">
                <a:extLst>
                  <a:ext uri="{FF2B5EF4-FFF2-40B4-BE49-F238E27FC236}">
                    <a16:creationId xmlns:a16="http://schemas.microsoft.com/office/drawing/2014/main" id="{9D4AE489-D605-2824-9378-49CBAA3A6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2678" y="4900337"/>
                <a:ext cx="169516" cy="218311"/>
              </a:xfrm>
              <a:custGeom>
                <a:avLst/>
                <a:gdLst>
                  <a:gd name="T0" fmla="*/ 37 w 397"/>
                  <a:gd name="T1" fmla="*/ 508 h 511"/>
                  <a:gd name="T2" fmla="*/ 3 w 397"/>
                  <a:gd name="T3" fmla="*/ 259 h 511"/>
                  <a:gd name="T4" fmla="*/ 52 w 397"/>
                  <a:gd name="T5" fmla="*/ 87 h 511"/>
                  <a:gd name="T6" fmla="*/ 144 w 397"/>
                  <a:gd name="T7" fmla="*/ 18 h 511"/>
                  <a:gd name="T8" fmla="*/ 204 w 397"/>
                  <a:gd name="T9" fmla="*/ 16 h 511"/>
                  <a:gd name="T10" fmla="*/ 247 w 397"/>
                  <a:gd name="T11" fmla="*/ 1 h 511"/>
                  <a:gd name="T12" fmla="*/ 396 w 397"/>
                  <a:gd name="T13" fmla="*/ 231 h 511"/>
                  <a:gd name="T14" fmla="*/ 343 w 397"/>
                  <a:gd name="T15" fmla="*/ 511 h 511"/>
                  <a:gd name="T16" fmla="*/ 37 w 397"/>
                  <a:gd name="T17" fmla="*/ 508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7" h="511">
                    <a:moveTo>
                      <a:pt x="37" y="508"/>
                    </a:moveTo>
                    <a:cubicBezTo>
                      <a:pt x="2" y="402"/>
                      <a:pt x="0" y="313"/>
                      <a:pt x="3" y="259"/>
                    </a:cubicBezTo>
                    <a:cubicBezTo>
                      <a:pt x="10" y="151"/>
                      <a:pt x="41" y="103"/>
                      <a:pt x="52" y="87"/>
                    </a:cubicBezTo>
                    <a:cubicBezTo>
                      <a:pt x="67" y="67"/>
                      <a:pt x="95" y="30"/>
                      <a:pt x="144" y="18"/>
                    </a:cubicBezTo>
                    <a:cubicBezTo>
                      <a:pt x="168" y="11"/>
                      <a:pt x="190" y="14"/>
                      <a:pt x="204" y="16"/>
                    </a:cubicBezTo>
                    <a:cubicBezTo>
                      <a:pt x="214" y="9"/>
                      <a:pt x="229" y="0"/>
                      <a:pt x="247" y="1"/>
                    </a:cubicBezTo>
                    <a:cubicBezTo>
                      <a:pt x="343" y="5"/>
                      <a:pt x="397" y="128"/>
                      <a:pt x="396" y="231"/>
                    </a:cubicBezTo>
                    <a:cubicBezTo>
                      <a:pt x="394" y="352"/>
                      <a:pt x="370" y="464"/>
                      <a:pt x="343" y="511"/>
                    </a:cubicBezTo>
                    <a:cubicBezTo>
                      <a:pt x="241" y="510"/>
                      <a:pt x="139" y="509"/>
                      <a:pt x="37" y="508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79" name="Freeform 37">
                <a:extLst>
                  <a:ext uri="{FF2B5EF4-FFF2-40B4-BE49-F238E27FC236}">
                    <a16:creationId xmlns:a16="http://schemas.microsoft.com/office/drawing/2014/main" id="{52CC1301-AA91-4768-5ABF-319F93875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293" y="6003459"/>
                <a:ext cx="151625" cy="73554"/>
              </a:xfrm>
              <a:custGeom>
                <a:avLst/>
                <a:gdLst>
                  <a:gd name="T0" fmla="*/ 346 w 355"/>
                  <a:gd name="T1" fmla="*/ 22 h 172"/>
                  <a:gd name="T2" fmla="*/ 352 w 355"/>
                  <a:gd name="T3" fmla="*/ 102 h 172"/>
                  <a:gd name="T4" fmla="*/ 338 w 355"/>
                  <a:gd name="T5" fmla="*/ 147 h 172"/>
                  <a:gd name="T6" fmla="*/ 263 w 355"/>
                  <a:gd name="T7" fmla="*/ 159 h 172"/>
                  <a:gd name="T8" fmla="*/ 246 w 355"/>
                  <a:gd name="T9" fmla="*/ 133 h 172"/>
                  <a:gd name="T10" fmla="*/ 157 w 355"/>
                  <a:gd name="T11" fmla="*/ 164 h 172"/>
                  <a:gd name="T12" fmla="*/ 60 w 355"/>
                  <a:gd name="T13" fmla="*/ 171 h 172"/>
                  <a:gd name="T14" fmla="*/ 5 w 355"/>
                  <a:gd name="T15" fmla="*/ 135 h 172"/>
                  <a:gd name="T16" fmla="*/ 122 w 355"/>
                  <a:gd name="T17" fmla="*/ 85 h 172"/>
                  <a:gd name="T18" fmla="*/ 216 w 355"/>
                  <a:gd name="T19" fmla="*/ 27 h 172"/>
                  <a:gd name="T20" fmla="*/ 346 w 355"/>
                  <a:gd name="T21" fmla="*/ 2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5" h="172">
                    <a:moveTo>
                      <a:pt x="346" y="22"/>
                    </a:moveTo>
                    <a:cubicBezTo>
                      <a:pt x="347" y="32"/>
                      <a:pt x="355" y="88"/>
                      <a:pt x="352" y="102"/>
                    </a:cubicBezTo>
                    <a:cubicBezTo>
                      <a:pt x="349" y="121"/>
                      <a:pt x="343" y="136"/>
                      <a:pt x="338" y="147"/>
                    </a:cubicBezTo>
                    <a:cubicBezTo>
                      <a:pt x="313" y="151"/>
                      <a:pt x="288" y="155"/>
                      <a:pt x="263" y="159"/>
                    </a:cubicBezTo>
                    <a:cubicBezTo>
                      <a:pt x="246" y="133"/>
                      <a:pt x="246" y="133"/>
                      <a:pt x="246" y="133"/>
                    </a:cubicBezTo>
                    <a:cubicBezTo>
                      <a:pt x="221" y="142"/>
                      <a:pt x="190" y="158"/>
                      <a:pt x="157" y="164"/>
                    </a:cubicBezTo>
                    <a:cubicBezTo>
                      <a:pt x="114" y="172"/>
                      <a:pt x="94" y="170"/>
                      <a:pt x="60" y="171"/>
                    </a:cubicBezTo>
                    <a:cubicBezTo>
                      <a:pt x="58" y="171"/>
                      <a:pt x="19" y="166"/>
                      <a:pt x="5" y="135"/>
                    </a:cubicBezTo>
                    <a:cubicBezTo>
                      <a:pt x="0" y="123"/>
                      <a:pt x="80" y="100"/>
                      <a:pt x="122" y="85"/>
                    </a:cubicBezTo>
                    <a:cubicBezTo>
                      <a:pt x="179" y="65"/>
                      <a:pt x="187" y="36"/>
                      <a:pt x="216" y="27"/>
                    </a:cubicBezTo>
                    <a:cubicBezTo>
                      <a:pt x="269" y="50"/>
                      <a:pt x="293" y="0"/>
                      <a:pt x="346" y="22"/>
                    </a:cubicBezTo>
                    <a:close/>
                  </a:path>
                </a:pathLst>
              </a:custGeom>
              <a:solidFill>
                <a:srgbClr val="5F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0" name="Freeform 38">
                <a:extLst>
                  <a:ext uri="{FF2B5EF4-FFF2-40B4-BE49-F238E27FC236}">
                    <a16:creationId xmlns:a16="http://schemas.microsoft.com/office/drawing/2014/main" id="{C0E81430-07A0-00C5-6833-28C61C982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255" y="6003459"/>
                <a:ext cx="150360" cy="76445"/>
              </a:xfrm>
              <a:custGeom>
                <a:avLst/>
                <a:gdLst>
                  <a:gd name="T0" fmla="*/ 2 w 352"/>
                  <a:gd name="T1" fmla="*/ 19 h 179"/>
                  <a:gd name="T2" fmla="*/ 2 w 352"/>
                  <a:gd name="T3" fmla="*/ 90 h 179"/>
                  <a:gd name="T4" fmla="*/ 12 w 352"/>
                  <a:gd name="T5" fmla="*/ 136 h 179"/>
                  <a:gd name="T6" fmla="*/ 86 w 352"/>
                  <a:gd name="T7" fmla="*/ 153 h 179"/>
                  <a:gd name="T8" fmla="*/ 105 w 352"/>
                  <a:gd name="T9" fmla="*/ 129 h 179"/>
                  <a:gd name="T10" fmla="*/ 192 w 352"/>
                  <a:gd name="T11" fmla="*/ 166 h 179"/>
                  <a:gd name="T12" fmla="*/ 288 w 352"/>
                  <a:gd name="T13" fmla="*/ 179 h 179"/>
                  <a:gd name="T14" fmla="*/ 346 w 352"/>
                  <a:gd name="T15" fmla="*/ 147 h 179"/>
                  <a:gd name="T16" fmla="*/ 233 w 352"/>
                  <a:gd name="T17" fmla="*/ 89 h 179"/>
                  <a:gd name="T18" fmla="*/ 143 w 352"/>
                  <a:gd name="T19" fmla="*/ 25 h 179"/>
                  <a:gd name="T20" fmla="*/ 2 w 352"/>
                  <a:gd name="T21" fmla="*/ 1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2" h="179">
                    <a:moveTo>
                      <a:pt x="2" y="19"/>
                    </a:moveTo>
                    <a:cubicBezTo>
                      <a:pt x="1" y="29"/>
                      <a:pt x="0" y="76"/>
                      <a:pt x="2" y="90"/>
                    </a:cubicBezTo>
                    <a:cubicBezTo>
                      <a:pt x="4" y="109"/>
                      <a:pt x="8" y="125"/>
                      <a:pt x="12" y="136"/>
                    </a:cubicBezTo>
                    <a:cubicBezTo>
                      <a:pt x="37" y="142"/>
                      <a:pt x="62" y="147"/>
                      <a:pt x="86" y="153"/>
                    </a:cubicBezTo>
                    <a:cubicBezTo>
                      <a:pt x="105" y="129"/>
                      <a:pt x="105" y="129"/>
                      <a:pt x="105" y="129"/>
                    </a:cubicBezTo>
                    <a:cubicBezTo>
                      <a:pt x="130" y="139"/>
                      <a:pt x="160" y="157"/>
                      <a:pt x="192" y="166"/>
                    </a:cubicBezTo>
                    <a:cubicBezTo>
                      <a:pt x="234" y="177"/>
                      <a:pt x="255" y="176"/>
                      <a:pt x="288" y="179"/>
                    </a:cubicBezTo>
                    <a:cubicBezTo>
                      <a:pt x="290" y="179"/>
                      <a:pt x="330" y="177"/>
                      <a:pt x="346" y="147"/>
                    </a:cubicBezTo>
                    <a:cubicBezTo>
                      <a:pt x="352" y="135"/>
                      <a:pt x="274" y="107"/>
                      <a:pt x="233" y="89"/>
                    </a:cubicBezTo>
                    <a:cubicBezTo>
                      <a:pt x="177" y="65"/>
                      <a:pt x="171" y="36"/>
                      <a:pt x="143" y="25"/>
                    </a:cubicBezTo>
                    <a:cubicBezTo>
                      <a:pt x="89" y="44"/>
                      <a:pt x="56" y="0"/>
                      <a:pt x="2" y="19"/>
                    </a:cubicBezTo>
                    <a:close/>
                  </a:path>
                </a:pathLst>
              </a:custGeom>
              <a:solidFill>
                <a:srgbClr val="5F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1" name="Freeform 39">
                <a:extLst>
                  <a:ext uri="{FF2B5EF4-FFF2-40B4-BE49-F238E27FC236}">
                    <a16:creationId xmlns:a16="http://schemas.microsoft.com/office/drawing/2014/main" id="{E5DE14F5-BB29-51ED-2127-F05FAC8F5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4726" y="5359188"/>
                <a:ext cx="261323" cy="692162"/>
              </a:xfrm>
              <a:custGeom>
                <a:avLst/>
                <a:gdLst>
                  <a:gd name="T0" fmla="*/ 15 w 612"/>
                  <a:gd name="T1" fmla="*/ 261 h 1620"/>
                  <a:gd name="T2" fmla="*/ 96 w 612"/>
                  <a:gd name="T3" fmla="*/ 90 h 1620"/>
                  <a:gd name="T4" fmla="*/ 524 w 612"/>
                  <a:gd name="T5" fmla="*/ 77 h 1620"/>
                  <a:gd name="T6" fmla="*/ 560 w 612"/>
                  <a:gd name="T7" fmla="*/ 895 h 1620"/>
                  <a:gd name="T8" fmla="*/ 577 w 612"/>
                  <a:gd name="T9" fmla="*/ 1575 h 1620"/>
                  <a:gd name="T10" fmla="*/ 567 w 612"/>
                  <a:gd name="T11" fmla="*/ 1584 h 1620"/>
                  <a:gd name="T12" fmla="*/ 411 w 612"/>
                  <a:gd name="T13" fmla="*/ 1574 h 1620"/>
                  <a:gd name="T14" fmla="*/ 336 w 612"/>
                  <a:gd name="T15" fmla="*/ 1568 h 1620"/>
                  <a:gd name="T16" fmla="*/ 349 w 612"/>
                  <a:gd name="T17" fmla="*/ 941 h 1620"/>
                  <a:gd name="T18" fmla="*/ 315 w 612"/>
                  <a:gd name="T19" fmla="*/ 483 h 1620"/>
                  <a:gd name="T20" fmla="*/ 275 w 612"/>
                  <a:gd name="T21" fmla="*/ 957 h 1620"/>
                  <a:gd name="T22" fmla="*/ 301 w 612"/>
                  <a:gd name="T23" fmla="*/ 1562 h 1620"/>
                  <a:gd name="T24" fmla="*/ 64 w 612"/>
                  <a:gd name="T25" fmla="*/ 1563 h 1620"/>
                  <a:gd name="T26" fmla="*/ 70 w 612"/>
                  <a:gd name="T27" fmla="*/ 890 h 1620"/>
                  <a:gd name="T28" fmla="*/ 6 w 612"/>
                  <a:gd name="T29" fmla="*/ 473 h 1620"/>
                  <a:gd name="T30" fmla="*/ 15 w 612"/>
                  <a:gd name="T31" fmla="*/ 261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12" h="1620">
                    <a:moveTo>
                      <a:pt x="15" y="261"/>
                    </a:moveTo>
                    <a:cubicBezTo>
                      <a:pt x="27" y="204"/>
                      <a:pt x="49" y="129"/>
                      <a:pt x="96" y="90"/>
                    </a:cubicBezTo>
                    <a:cubicBezTo>
                      <a:pt x="100" y="86"/>
                      <a:pt x="510" y="0"/>
                      <a:pt x="524" y="77"/>
                    </a:cubicBezTo>
                    <a:cubicBezTo>
                      <a:pt x="612" y="552"/>
                      <a:pt x="560" y="895"/>
                      <a:pt x="560" y="895"/>
                    </a:cubicBezTo>
                    <a:cubicBezTo>
                      <a:pt x="560" y="895"/>
                      <a:pt x="562" y="1330"/>
                      <a:pt x="577" y="1575"/>
                    </a:cubicBezTo>
                    <a:cubicBezTo>
                      <a:pt x="577" y="1580"/>
                      <a:pt x="572" y="1584"/>
                      <a:pt x="567" y="1584"/>
                    </a:cubicBezTo>
                    <a:cubicBezTo>
                      <a:pt x="515" y="1581"/>
                      <a:pt x="463" y="1578"/>
                      <a:pt x="411" y="1574"/>
                    </a:cubicBezTo>
                    <a:cubicBezTo>
                      <a:pt x="389" y="1570"/>
                      <a:pt x="358" y="1568"/>
                      <a:pt x="336" y="1568"/>
                    </a:cubicBezTo>
                    <a:cubicBezTo>
                      <a:pt x="329" y="1311"/>
                      <a:pt x="349" y="941"/>
                      <a:pt x="349" y="941"/>
                    </a:cubicBezTo>
                    <a:cubicBezTo>
                      <a:pt x="349" y="941"/>
                      <a:pt x="330" y="684"/>
                      <a:pt x="315" y="483"/>
                    </a:cubicBezTo>
                    <a:cubicBezTo>
                      <a:pt x="305" y="603"/>
                      <a:pt x="282" y="891"/>
                      <a:pt x="275" y="957"/>
                    </a:cubicBezTo>
                    <a:cubicBezTo>
                      <a:pt x="290" y="1052"/>
                      <a:pt x="283" y="1438"/>
                      <a:pt x="301" y="1562"/>
                    </a:cubicBezTo>
                    <a:cubicBezTo>
                      <a:pt x="160" y="1620"/>
                      <a:pt x="64" y="1565"/>
                      <a:pt x="64" y="1563"/>
                    </a:cubicBezTo>
                    <a:cubicBezTo>
                      <a:pt x="40" y="1347"/>
                      <a:pt x="41" y="1105"/>
                      <a:pt x="70" y="890"/>
                    </a:cubicBezTo>
                    <a:cubicBezTo>
                      <a:pt x="58" y="818"/>
                      <a:pt x="13" y="557"/>
                      <a:pt x="6" y="473"/>
                    </a:cubicBezTo>
                    <a:cubicBezTo>
                      <a:pt x="0" y="403"/>
                      <a:pt x="0" y="331"/>
                      <a:pt x="15" y="261"/>
                    </a:cubicBezTo>
                    <a:close/>
                  </a:path>
                </a:pathLst>
              </a:custGeom>
              <a:solidFill>
                <a:srgbClr val="414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2" name="Freeform 40">
                <a:extLst>
                  <a:ext uri="{FF2B5EF4-FFF2-40B4-BE49-F238E27FC236}">
                    <a16:creationId xmlns:a16="http://schemas.microsoft.com/office/drawing/2014/main" id="{B85FBF3C-B2B0-F69E-311D-8108343AB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6293" y="5092624"/>
                <a:ext cx="264034" cy="366141"/>
              </a:xfrm>
              <a:custGeom>
                <a:avLst/>
                <a:gdLst>
                  <a:gd name="T0" fmla="*/ 333 w 618"/>
                  <a:gd name="T1" fmla="*/ 738 h 857"/>
                  <a:gd name="T2" fmla="*/ 280 w 618"/>
                  <a:gd name="T3" fmla="*/ 847 h 857"/>
                  <a:gd name="T4" fmla="*/ 147 w 618"/>
                  <a:gd name="T5" fmla="*/ 849 h 857"/>
                  <a:gd name="T6" fmla="*/ 46 w 618"/>
                  <a:gd name="T7" fmla="*/ 821 h 857"/>
                  <a:gd name="T8" fmla="*/ 113 w 618"/>
                  <a:gd name="T9" fmla="*/ 544 h 857"/>
                  <a:gd name="T10" fmla="*/ 0 w 618"/>
                  <a:gd name="T11" fmla="*/ 152 h 857"/>
                  <a:gd name="T12" fmla="*/ 70 w 618"/>
                  <a:gd name="T13" fmla="*/ 62 h 857"/>
                  <a:gd name="T14" fmla="*/ 345 w 618"/>
                  <a:gd name="T15" fmla="*/ 8 h 857"/>
                  <a:gd name="T16" fmla="*/ 618 w 618"/>
                  <a:gd name="T17" fmla="*/ 74 h 857"/>
                  <a:gd name="T18" fmla="*/ 558 w 618"/>
                  <a:gd name="T19" fmla="*/ 535 h 857"/>
                  <a:gd name="T20" fmla="*/ 606 w 618"/>
                  <a:gd name="T21" fmla="*/ 819 h 857"/>
                  <a:gd name="T22" fmla="*/ 504 w 618"/>
                  <a:gd name="T23" fmla="*/ 849 h 857"/>
                  <a:gd name="T24" fmla="*/ 375 w 618"/>
                  <a:gd name="T25" fmla="*/ 847 h 857"/>
                  <a:gd name="T26" fmla="*/ 333 w 618"/>
                  <a:gd name="T27" fmla="*/ 738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857">
                    <a:moveTo>
                      <a:pt x="333" y="738"/>
                    </a:moveTo>
                    <a:cubicBezTo>
                      <a:pt x="280" y="847"/>
                      <a:pt x="280" y="847"/>
                      <a:pt x="280" y="847"/>
                    </a:cubicBezTo>
                    <a:cubicBezTo>
                      <a:pt x="248" y="852"/>
                      <a:pt x="202" y="857"/>
                      <a:pt x="147" y="849"/>
                    </a:cubicBezTo>
                    <a:cubicBezTo>
                      <a:pt x="106" y="843"/>
                      <a:pt x="71" y="832"/>
                      <a:pt x="46" y="821"/>
                    </a:cubicBezTo>
                    <a:cubicBezTo>
                      <a:pt x="68" y="729"/>
                      <a:pt x="91" y="636"/>
                      <a:pt x="113" y="544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70" y="62"/>
                      <a:pt x="70" y="62"/>
                      <a:pt x="70" y="62"/>
                    </a:cubicBezTo>
                    <a:cubicBezTo>
                      <a:pt x="70" y="62"/>
                      <a:pt x="162" y="0"/>
                      <a:pt x="345" y="8"/>
                    </a:cubicBezTo>
                    <a:cubicBezTo>
                      <a:pt x="527" y="17"/>
                      <a:pt x="618" y="74"/>
                      <a:pt x="618" y="74"/>
                    </a:cubicBezTo>
                    <a:cubicBezTo>
                      <a:pt x="558" y="535"/>
                      <a:pt x="558" y="535"/>
                      <a:pt x="558" y="535"/>
                    </a:cubicBezTo>
                    <a:cubicBezTo>
                      <a:pt x="606" y="819"/>
                      <a:pt x="606" y="819"/>
                      <a:pt x="606" y="819"/>
                    </a:cubicBezTo>
                    <a:cubicBezTo>
                      <a:pt x="581" y="830"/>
                      <a:pt x="546" y="843"/>
                      <a:pt x="504" y="849"/>
                    </a:cubicBezTo>
                    <a:cubicBezTo>
                      <a:pt x="450" y="857"/>
                      <a:pt x="405" y="852"/>
                      <a:pt x="375" y="847"/>
                    </a:cubicBezTo>
                    <a:cubicBezTo>
                      <a:pt x="361" y="811"/>
                      <a:pt x="347" y="774"/>
                      <a:pt x="333" y="738"/>
                    </a:cubicBezTo>
                    <a:close/>
                  </a:path>
                </a:pathLst>
              </a:custGeom>
              <a:solidFill>
                <a:srgbClr val="94B3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3" name="Freeform 41">
                <a:extLst>
                  <a:ext uri="{FF2B5EF4-FFF2-40B4-BE49-F238E27FC236}">
                    <a16:creationId xmlns:a16="http://schemas.microsoft.com/office/drawing/2014/main" id="{2A0B8627-CA59-ED98-41E4-CAACE6393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870" y="5047263"/>
                <a:ext cx="64879" cy="158854"/>
              </a:xfrm>
              <a:custGeom>
                <a:avLst/>
                <a:gdLst>
                  <a:gd name="T0" fmla="*/ 149 w 152"/>
                  <a:gd name="T1" fmla="*/ 6 h 372"/>
                  <a:gd name="T2" fmla="*/ 152 w 152"/>
                  <a:gd name="T3" fmla="*/ 124 h 372"/>
                  <a:gd name="T4" fmla="*/ 143 w 152"/>
                  <a:gd name="T5" fmla="*/ 271 h 372"/>
                  <a:gd name="T6" fmla="*/ 83 w 152"/>
                  <a:gd name="T7" fmla="*/ 372 h 372"/>
                  <a:gd name="T8" fmla="*/ 3 w 152"/>
                  <a:gd name="T9" fmla="*/ 233 h 372"/>
                  <a:gd name="T10" fmla="*/ 0 w 152"/>
                  <a:gd name="T11" fmla="*/ 113 h 372"/>
                  <a:gd name="T12" fmla="*/ 2 w 152"/>
                  <a:gd name="T13" fmla="*/ 0 h 372"/>
                  <a:gd name="T14" fmla="*/ 149 w 152"/>
                  <a:gd name="T15" fmla="*/ 6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2" h="372">
                    <a:moveTo>
                      <a:pt x="149" y="6"/>
                    </a:moveTo>
                    <a:cubicBezTo>
                      <a:pt x="152" y="124"/>
                      <a:pt x="152" y="124"/>
                      <a:pt x="152" y="124"/>
                    </a:cubicBezTo>
                    <a:cubicBezTo>
                      <a:pt x="143" y="271"/>
                      <a:pt x="143" y="271"/>
                      <a:pt x="143" y="271"/>
                    </a:cubicBezTo>
                    <a:cubicBezTo>
                      <a:pt x="83" y="372"/>
                      <a:pt x="83" y="372"/>
                      <a:pt x="83" y="372"/>
                    </a:cubicBezTo>
                    <a:cubicBezTo>
                      <a:pt x="3" y="233"/>
                      <a:pt x="3" y="233"/>
                      <a:pt x="3" y="233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71" y="44"/>
                      <a:pt x="149" y="6"/>
                    </a:cubicBezTo>
                    <a:close/>
                  </a:path>
                </a:pathLst>
              </a:custGeom>
              <a:solidFill>
                <a:srgbClr val="6D4B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4" name="Freeform 42">
                <a:extLst>
                  <a:ext uri="{FF2B5EF4-FFF2-40B4-BE49-F238E27FC236}">
                    <a16:creationId xmlns:a16="http://schemas.microsoft.com/office/drawing/2014/main" id="{9D27E20B-34B6-F506-DE58-D43B5A937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377" y="5328465"/>
                <a:ext cx="69578" cy="30723"/>
              </a:xfrm>
              <a:custGeom>
                <a:avLst/>
                <a:gdLst>
                  <a:gd name="T0" fmla="*/ 156 w 163"/>
                  <a:gd name="T1" fmla="*/ 72 h 72"/>
                  <a:gd name="T2" fmla="*/ 32 w 163"/>
                  <a:gd name="T3" fmla="*/ 31 h 72"/>
                  <a:gd name="T4" fmla="*/ 0 w 163"/>
                  <a:gd name="T5" fmla="*/ 0 h 72"/>
                  <a:gd name="T6" fmla="*/ 163 w 163"/>
                  <a:gd name="T7" fmla="*/ 6 h 72"/>
                  <a:gd name="T8" fmla="*/ 156 w 163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3" h="72">
                    <a:moveTo>
                      <a:pt x="156" y="72"/>
                    </a:moveTo>
                    <a:cubicBezTo>
                      <a:pt x="156" y="72"/>
                      <a:pt x="64" y="63"/>
                      <a:pt x="32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3" y="6"/>
                      <a:pt x="163" y="6"/>
                      <a:pt x="163" y="6"/>
                    </a:cubicBezTo>
                    <a:lnTo>
                      <a:pt x="156" y="72"/>
                    </a:lnTo>
                    <a:close/>
                  </a:path>
                </a:pathLst>
              </a:custGeom>
              <a:solidFill>
                <a:srgbClr val="6D4B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5" name="Freeform 43">
                <a:extLst>
                  <a:ext uri="{FF2B5EF4-FFF2-40B4-BE49-F238E27FC236}">
                    <a16:creationId xmlns:a16="http://schemas.microsoft.com/office/drawing/2014/main" id="{EDC670B6-B691-7A3A-250A-79F70D5BF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534" y="5119010"/>
                <a:ext cx="230962" cy="226444"/>
              </a:xfrm>
              <a:custGeom>
                <a:avLst/>
                <a:gdLst>
                  <a:gd name="T0" fmla="*/ 540 w 541"/>
                  <a:gd name="T1" fmla="*/ 401 h 530"/>
                  <a:gd name="T2" fmla="*/ 191 w 541"/>
                  <a:gd name="T3" fmla="*/ 377 h 530"/>
                  <a:gd name="T4" fmla="*/ 170 w 541"/>
                  <a:gd name="T5" fmla="*/ 319 h 530"/>
                  <a:gd name="T6" fmla="*/ 93 w 541"/>
                  <a:gd name="T7" fmla="*/ 0 h 530"/>
                  <a:gd name="T8" fmla="*/ 23 w 541"/>
                  <a:gd name="T9" fmla="*/ 86 h 530"/>
                  <a:gd name="T10" fmla="*/ 38 w 541"/>
                  <a:gd name="T11" fmla="*/ 325 h 530"/>
                  <a:gd name="T12" fmla="*/ 100 w 541"/>
                  <a:gd name="T13" fmla="*/ 509 h 530"/>
                  <a:gd name="T14" fmla="*/ 257 w 541"/>
                  <a:gd name="T15" fmla="*/ 520 h 530"/>
                  <a:gd name="T16" fmla="*/ 541 w 541"/>
                  <a:gd name="T17" fmla="*/ 461 h 530"/>
                  <a:gd name="T18" fmla="*/ 540 w 541"/>
                  <a:gd name="T19" fmla="*/ 401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1" h="530">
                    <a:moveTo>
                      <a:pt x="540" y="401"/>
                    </a:moveTo>
                    <a:cubicBezTo>
                      <a:pt x="191" y="377"/>
                      <a:pt x="191" y="377"/>
                      <a:pt x="191" y="377"/>
                    </a:cubicBezTo>
                    <a:cubicBezTo>
                      <a:pt x="184" y="358"/>
                      <a:pt x="177" y="339"/>
                      <a:pt x="170" y="319"/>
                    </a:cubicBezTo>
                    <a:cubicBezTo>
                      <a:pt x="132" y="207"/>
                      <a:pt x="108" y="100"/>
                      <a:pt x="93" y="0"/>
                    </a:cubicBezTo>
                    <a:cubicBezTo>
                      <a:pt x="72" y="16"/>
                      <a:pt x="37" y="42"/>
                      <a:pt x="23" y="86"/>
                    </a:cubicBezTo>
                    <a:cubicBezTo>
                      <a:pt x="0" y="163"/>
                      <a:pt x="25" y="232"/>
                      <a:pt x="38" y="325"/>
                    </a:cubicBezTo>
                    <a:cubicBezTo>
                      <a:pt x="52" y="417"/>
                      <a:pt x="100" y="509"/>
                      <a:pt x="100" y="509"/>
                    </a:cubicBezTo>
                    <a:cubicBezTo>
                      <a:pt x="100" y="509"/>
                      <a:pt x="112" y="530"/>
                      <a:pt x="257" y="520"/>
                    </a:cubicBezTo>
                    <a:cubicBezTo>
                      <a:pt x="402" y="509"/>
                      <a:pt x="541" y="461"/>
                      <a:pt x="541" y="461"/>
                    </a:cubicBezTo>
                    <a:lnTo>
                      <a:pt x="540" y="401"/>
                    </a:lnTo>
                    <a:close/>
                  </a:path>
                </a:pathLst>
              </a:custGeom>
              <a:solidFill>
                <a:srgbClr val="86A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6" name="Freeform 44">
                <a:extLst>
                  <a:ext uri="{FF2B5EF4-FFF2-40B4-BE49-F238E27FC236}">
                    <a16:creationId xmlns:a16="http://schemas.microsoft.com/office/drawing/2014/main" id="{4DA2BB76-80F3-38D0-C66B-3F4994CCB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676" y="5293767"/>
                <a:ext cx="48614" cy="26024"/>
              </a:xfrm>
              <a:custGeom>
                <a:avLst/>
                <a:gdLst>
                  <a:gd name="T0" fmla="*/ 0 w 269"/>
                  <a:gd name="T1" fmla="*/ 0 h 144"/>
                  <a:gd name="T2" fmla="*/ 262 w 269"/>
                  <a:gd name="T3" fmla="*/ 43 h 144"/>
                  <a:gd name="T4" fmla="*/ 269 w 269"/>
                  <a:gd name="T5" fmla="*/ 97 h 144"/>
                  <a:gd name="T6" fmla="*/ 0 w 269"/>
                  <a:gd name="T7" fmla="*/ 144 h 144"/>
                  <a:gd name="T8" fmla="*/ 0 w 269"/>
                  <a:gd name="T9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144">
                    <a:moveTo>
                      <a:pt x="0" y="0"/>
                    </a:moveTo>
                    <a:lnTo>
                      <a:pt x="262" y="43"/>
                    </a:lnTo>
                    <a:lnTo>
                      <a:pt x="269" y="97"/>
                    </a:lnTo>
                    <a:lnTo>
                      <a:pt x="0" y="1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D4B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7" name="Freeform 45">
                <a:extLst>
                  <a:ext uri="{FF2B5EF4-FFF2-40B4-BE49-F238E27FC236}">
                    <a16:creationId xmlns:a16="http://schemas.microsoft.com/office/drawing/2014/main" id="{DA4EB6F7-5DDD-5704-9013-EEE771ED3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063" y="5124250"/>
                <a:ext cx="169516" cy="239636"/>
              </a:xfrm>
              <a:custGeom>
                <a:avLst/>
                <a:gdLst>
                  <a:gd name="T0" fmla="*/ 0 w 397"/>
                  <a:gd name="T1" fmla="*/ 550 h 561"/>
                  <a:gd name="T2" fmla="*/ 228 w 397"/>
                  <a:gd name="T3" fmla="*/ 550 h 561"/>
                  <a:gd name="T4" fmla="*/ 386 w 397"/>
                  <a:gd name="T5" fmla="*/ 491 h 561"/>
                  <a:gd name="T6" fmla="*/ 389 w 397"/>
                  <a:gd name="T7" fmla="*/ 273 h 561"/>
                  <a:gd name="T8" fmla="*/ 319 w 397"/>
                  <a:gd name="T9" fmla="*/ 0 h 561"/>
                  <a:gd name="T10" fmla="*/ 277 w 397"/>
                  <a:gd name="T11" fmla="*/ 187 h 561"/>
                  <a:gd name="T12" fmla="*/ 263 w 397"/>
                  <a:gd name="T13" fmla="*/ 429 h 561"/>
                  <a:gd name="T14" fmla="*/ 7 w 397"/>
                  <a:gd name="T15" fmla="*/ 484 h 561"/>
                  <a:gd name="T16" fmla="*/ 0 w 397"/>
                  <a:gd name="T17" fmla="*/ 550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7" h="561">
                    <a:moveTo>
                      <a:pt x="0" y="550"/>
                    </a:moveTo>
                    <a:cubicBezTo>
                      <a:pt x="0" y="550"/>
                      <a:pt x="93" y="561"/>
                      <a:pt x="228" y="550"/>
                    </a:cubicBezTo>
                    <a:cubicBezTo>
                      <a:pt x="362" y="540"/>
                      <a:pt x="386" y="491"/>
                      <a:pt x="386" y="491"/>
                    </a:cubicBezTo>
                    <a:cubicBezTo>
                      <a:pt x="394" y="432"/>
                      <a:pt x="397" y="358"/>
                      <a:pt x="389" y="273"/>
                    </a:cubicBezTo>
                    <a:cubicBezTo>
                      <a:pt x="377" y="158"/>
                      <a:pt x="346" y="66"/>
                      <a:pt x="319" y="0"/>
                    </a:cubicBezTo>
                    <a:cubicBezTo>
                      <a:pt x="294" y="79"/>
                      <a:pt x="282" y="143"/>
                      <a:pt x="277" y="187"/>
                    </a:cubicBezTo>
                    <a:cubicBezTo>
                      <a:pt x="267" y="282"/>
                      <a:pt x="263" y="429"/>
                      <a:pt x="263" y="429"/>
                    </a:cubicBezTo>
                    <a:cubicBezTo>
                      <a:pt x="7" y="484"/>
                      <a:pt x="7" y="484"/>
                      <a:pt x="7" y="484"/>
                    </a:cubicBezTo>
                    <a:lnTo>
                      <a:pt x="0" y="550"/>
                    </a:lnTo>
                    <a:close/>
                  </a:path>
                </a:pathLst>
              </a:custGeom>
              <a:solidFill>
                <a:srgbClr val="86A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8" name="Freeform 46">
                <a:extLst>
                  <a:ext uri="{FF2B5EF4-FFF2-40B4-BE49-F238E27FC236}">
                    <a16:creationId xmlns:a16="http://schemas.microsoft.com/office/drawing/2014/main" id="{492A6A78-CD1D-BECE-29BC-8A3D02D4E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9003" y="5095516"/>
                <a:ext cx="91083" cy="126866"/>
              </a:xfrm>
              <a:custGeom>
                <a:avLst/>
                <a:gdLst>
                  <a:gd name="T0" fmla="*/ 121 w 213"/>
                  <a:gd name="T1" fmla="*/ 0 h 297"/>
                  <a:gd name="T2" fmla="*/ 63 w 213"/>
                  <a:gd name="T3" fmla="*/ 5 h 297"/>
                  <a:gd name="T4" fmla="*/ 12 w 213"/>
                  <a:gd name="T5" fmla="*/ 16 h 297"/>
                  <a:gd name="T6" fmla="*/ 0 w 213"/>
                  <a:gd name="T7" fmla="*/ 106 h 297"/>
                  <a:gd name="T8" fmla="*/ 58 w 213"/>
                  <a:gd name="T9" fmla="*/ 105 h 297"/>
                  <a:gd name="T10" fmla="*/ 12 w 213"/>
                  <a:gd name="T11" fmla="*/ 172 h 297"/>
                  <a:gd name="T12" fmla="*/ 99 w 213"/>
                  <a:gd name="T13" fmla="*/ 246 h 297"/>
                  <a:gd name="T14" fmla="*/ 177 w 213"/>
                  <a:gd name="T15" fmla="*/ 297 h 297"/>
                  <a:gd name="T16" fmla="*/ 213 w 213"/>
                  <a:gd name="T17" fmla="*/ 225 h 297"/>
                  <a:gd name="T18" fmla="*/ 143 w 213"/>
                  <a:gd name="T19" fmla="*/ 101 h 297"/>
                  <a:gd name="T20" fmla="*/ 121 w 213"/>
                  <a:gd name="T21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97">
                    <a:moveTo>
                      <a:pt x="121" y="0"/>
                    </a:moveTo>
                    <a:cubicBezTo>
                      <a:pt x="104" y="1"/>
                      <a:pt x="84" y="2"/>
                      <a:pt x="63" y="5"/>
                    </a:cubicBezTo>
                    <a:cubicBezTo>
                      <a:pt x="44" y="8"/>
                      <a:pt x="27" y="12"/>
                      <a:pt x="12" y="16"/>
                    </a:cubicBezTo>
                    <a:cubicBezTo>
                      <a:pt x="8" y="46"/>
                      <a:pt x="4" y="76"/>
                      <a:pt x="0" y="106"/>
                    </a:cubicBezTo>
                    <a:cubicBezTo>
                      <a:pt x="58" y="105"/>
                      <a:pt x="58" y="105"/>
                      <a:pt x="58" y="105"/>
                    </a:cubicBezTo>
                    <a:cubicBezTo>
                      <a:pt x="12" y="172"/>
                      <a:pt x="12" y="172"/>
                      <a:pt x="12" y="172"/>
                    </a:cubicBezTo>
                    <a:cubicBezTo>
                      <a:pt x="12" y="172"/>
                      <a:pt x="46" y="208"/>
                      <a:pt x="99" y="246"/>
                    </a:cubicBezTo>
                    <a:cubicBezTo>
                      <a:pt x="151" y="285"/>
                      <a:pt x="177" y="297"/>
                      <a:pt x="177" y="297"/>
                    </a:cubicBezTo>
                    <a:cubicBezTo>
                      <a:pt x="213" y="225"/>
                      <a:pt x="213" y="225"/>
                      <a:pt x="213" y="225"/>
                    </a:cubicBezTo>
                    <a:cubicBezTo>
                      <a:pt x="213" y="225"/>
                      <a:pt x="166" y="158"/>
                      <a:pt x="143" y="101"/>
                    </a:cubicBezTo>
                    <a:cubicBezTo>
                      <a:pt x="121" y="45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86A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9" name="Freeform 47">
                <a:extLst>
                  <a:ext uri="{FF2B5EF4-FFF2-40B4-BE49-F238E27FC236}">
                    <a16:creationId xmlns:a16="http://schemas.microsoft.com/office/drawing/2014/main" id="{97175B1B-40AC-2D5F-4443-685DD3156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930" y="5097684"/>
                <a:ext cx="101565" cy="130300"/>
              </a:xfrm>
              <a:custGeom>
                <a:avLst/>
                <a:gdLst>
                  <a:gd name="T0" fmla="*/ 0 w 238"/>
                  <a:gd name="T1" fmla="*/ 300 h 305"/>
                  <a:gd name="T2" fmla="*/ 78 w 238"/>
                  <a:gd name="T3" fmla="*/ 135 h 305"/>
                  <a:gd name="T4" fmla="*/ 105 w 238"/>
                  <a:gd name="T5" fmla="*/ 1 h 305"/>
                  <a:gd name="T6" fmla="*/ 158 w 238"/>
                  <a:gd name="T7" fmla="*/ 6 h 305"/>
                  <a:gd name="T8" fmla="*/ 238 w 238"/>
                  <a:gd name="T9" fmla="*/ 29 h 305"/>
                  <a:gd name="T10" fmla="*/ 218 w 238"/>
                  <a:gd name="T11" fmla="*/ 118 h 305"/>
                  <a:gd name="T12" fmla="*/ 146 w 238"/>
                  <a:gd name="T13" fmla="*/ 105 h 305"/>
                  <a:gd name="T14" fmla="*/ 188 w 238"/>
                  <a:gd name="T15" fmla="*/ 161 h 305"/>
                  <a:gd name="T16" fmla="*/ 110 w 238"/>
                  <a:gd name="T17" fmla="*/ 246 h 305"/>
                  <a:gd name="T18" fmla="*/ 14 w 238"/>
                  <a:gd name="T19" fmla="*/ 305 h 305"/>
                  <a:gd name="T20" fmla="*/ 0 w 238"/>
                  <a:gd name="T21" fmla="*/ 30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305">
                    <a:moveTo>
                      <a:pt x="0" y="300"/>
                    </a:moveTo>
                    <a:cubicBezTo>
                      <a:pt x="26" y="261"/>
                      <a:pt x="56" y="206"/>
                      <a:pt x="78" y="135"/>
                    </a:cubicBezTo>
                    <a:cubicBezTo>
                      <a:pt x="93" y="84"/>
                      <a:pt x="102" y="38"/>
                      <a:pt x="105" y="1"/>
                    </a:cubicBezTo>
                    <a:cubicBezTo>
                      <a:pt x="130" y="0"/>
                      <a:pt x="145" y="4"/>
                      <a:pt x="158" y="6"/>
                    </a:cubicBezTo>
                    <a:cubicBezTo>
                      <a:pt x="192" y="13"/>
                      <a:pt x="238" y="29"/>
                      <a:pt x="238" y="29"/>
                    </a:cubicBezTo>
                    <a:cubicBezTo>
                      <a:pt x="218" y="118"/>
                      <a:pt x="218" y="118"/>
                      <a:pt x="218" y="118"/>
                    </a:cubicBez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88" y="161"/>
                      <a:pt x="188" y="161"/>
                      <a:pt x="188" y="161"/>
                    </a:cubicBezTo>
                    <a:cubicBezTo>
                      <a:pt x="172" y="184"/>
                      <a:pt x="147" y="216"/>
                      <a:pt x="110" y="246"/>
                    </a:cubicBezTo>
                    <a:cubicBezTo>
                      <a:pt x="75" y="275"/>
                      <a:pt x="40" y="294"/>
                      <a:pt x="14" y="305"/>
                    </a:cubicBezTo>
                    <a:cubicBezTo>
                      <a:pt x="9" y="304"/>
                      <a:pt x="5" y="302"/>
                      <a:pt x="0" y="300"/>
                    </a:cubicBezTo>
                    <a:close/>
                  </a:path>
                </a:pathLst>
              </a:custGeom>
              <a:solidFill>
                <a:srgbClr val="86A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0" name="Freeform 48">
                <a:extLst>
                  <a:ext uri="{FF2B5EF4-FFF2-40B4-BE49-F238E27FC236}">
                    <a16:creationId xmlns:a16="http://schemas.microsoft.com/office/drawing/2014/main" id="{FF9A0F6C-0BB7-7F03-5104-8DC2A6EC7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2497" y="4946059"/>
                <a:ext cx="111143" cy="141866"/>
              </a:xfrm>
              <a:custGeom>
                <a:avLst/>
                <a:gdLst>
                  <a:gd name="T0" fmla="*/ 125 w 260"/>
                  <a:gd name="T1" fmla="*/ 330 h 332"/>
                  <a:gd name="T2" fmla="*/ 16 w 260"/>
                  <a:gd name="T3" fmla="*/ 229 h 332"/>
                  <a:gd name="T4" fmla="*/ 3 w 260"/>
                  <a:gd name="T5" fmla="*/ 135 h 332"/>
                  <a:gd name="T6" fmla="*/ 13 w 260"/>
                  <a:gd name="T7" fmla="*/ 77 h 332"/>
                  <a:gd name="T8" fmla="*/ 91 w 260"/>
                  <a:gd name="T9" fmla="*/ 47 h 332"/>
                  <a:gd name="T10" fmla="*/ 150 w 260"/>
                  <a:gd name="T11" fmla="*/ 0 h 332"/>
                  <a:gd name="T12" fmla="*/ 189 w 260"/>
                  <a:gd name="T13" fmla="*/ 51 h 332"/>
                  <a:gd name="T14" fmla="*/ 247 w 260"/>
                  <a:gd name="T15" fmla="*/ 94 h 332"/>
                  <a:gd name="T16" fmla="*/ 230 w 260"/>
                  <a:gd name="T17" fmla="*/ 256 h 332"/>
                  <a:gd name="T18" fmla="*/ 179 w 260"/>
                  <a:gd name="T19" fmla="*/ 318 h 332"/>
                  <a:gd name="T20" fmla="*/ 125 w 260"/>
                  <a:gd name="T21" fmla="*/ 33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0" h="332">
                    <a:moveTo>
                      <a:pt x="125" y="330"/>
                    </a:moveTo>
                    <a:cubicBezTo>
                      <a:pt x="55" y="324"/>
                      <a:pt x="19" y="238"/>
                      <a:pt x="16" y="229"/>
                    </a:cubicBezTo>
                    <a:cubicBezTo>
                      <a:pt x="0" y="190"/>
                      <a:pt x="2" y="154"/>
                      <a:pt x="3" y="135"/>
                    </a:cubicBezTo>
                    <a:cubicBezTo>
                      <a:pt x="4" y="111"/>
                      <a:pt x="9" y="91"/>
                      <a:pt x="13" y="77"/>
                    </a:cubicBezTo>
                    <a:cubicBezTo>
                      <a:pt x="33" y="73"/>
                      <a:pt x="61" y="64"/>
                      <a:pt x="91" y="47"/>
                    </a:cubicBezTo>
                    <a:cubicBezTo>
                      <a:pt x="118" y="31"/>
                      <a:pt x="137" y="13"/>
                      <a:pt x="150" y="0"/>
                    </a:cubicBezTo>
                    <a:cubicBezTo>
                      <a:pt x="158" y="14"/>
                      <a:pt x="170" y="32"/>
                      <a:pt x="189" y="51"/>
                    </a:cubicBezTo>
                    <a:cubicBezTo>
                      <a:pt x="210" y="72"/>
                      <a:pt x="232" y="86"/>
                      <a:pt x="247" y="94"/>
                    </a:cubicBezTo>
                    <a:cubicBezTo>
                      <a:pt x="253" y="127"/>
                      <a:pt x="260" y="192"/>
                      <a:pt x="230" y="256"/>
                    </a:cubicBezTo>
                    <a:cubicBezTo>
                      <a:pt x="221" y="276"/>
                      <a:pt x="208" y="302"/>
                      <a:pt x="179" y="318"/>
                    </a:cubicBezTo>
                    <a:cubicBezTo>
                      <a:pt x="172" y="321"/>
                      <a:pt x="151" y="332"/>
                      <a:pt x="125" y="330"/>
                    </a:cubicBezTo>
                    <a:close/>
                  </a:path>
                </a:pathLst>
              </a:custGeom>
              <a:solidFill>
                <a:srgbClr val="6D4B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1" name="Freeform 49">
                <a:extLst>
                  <a:ext uri="{FF2B5EF4-FFF2-40B4-BE49-F238E27FC236}">
                    <a16:creationId xmlns:a16="http://schemas.microsoft.com/office/drawing/2014/main" id="{A322FA8B-82B0-272E-161E-D851D7B96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9724" y="5665149"/>
                <a:ext cx="108071" cy="215781"/>
              </a:xfrm>
              <a:custGeom>
                <a:avLst/>
                <a:gdLst>
                  <a:gd name="T0" fmla="*/ 214 w 253"/>
                  <a:gd name="T1" fmla="*/ 238 h 505"/>
                  <a:gd name="T2" fmla="*/ 222 w 253"/>
                  <a:gd name="T3" fmla="*/ 190 h 505"/>
                  <a:gd name="T4" fmla="*/ 232 w 253"/>
                  <a:gd name="T5" fmla="*/ 102 h 505"/>
                  <a:gd name="T6" fmla="*/ 233 w 253"/>
                  <a:gd name="T7" fmla="*/ 93 h 505"/>
                  <a:gd name="T8" fmla="*/ 234 w 253"/>
                  <a:gd name="T9" fmla="*/ 53 h 505"/>
                  <a:gd name="T10" fmla="*/ 229 w 253"/>
                  <a:gd name="T11" fmla="*/ 53 h 505"/>
                  <a:gd name="T12" fmla="*/ 224 w 253"/>
                  <a:gd name="T13" fmla="*/ 92 h 505"/>
                  <a:gd name="T14" fmla="*/ 24 w 253"/>
                  <a:gd name="T15" fmla="*/ 91 h 505"/>
                  <a:gd name="T16" fmla="*/ 35 w 253"/>
                  <a:gd name="T17" fmla="*/ 5 h 505"/>
                  <a:gd name="T18" fmla="*/ 29 w 253"/>
                  <a:gd name="T19" fmla="*/ 3 h 505"/>
                  <a:gd name="T20" fmla="*/ 12 w 253"/>
                  <a:gd name="T21" fmla="*/ 89 h 505"/>
                  <a:gd name="T22" fmla="*/ 11 w 253"/>
                  <a:gd name="T23" fmla="*/ 88 h 505"/>
                  <a:gd name="T24" fmla="*/ 8 w 253"/>
                  <a:gd name="T25" fmla="*/ 101 h 505"/>
                  <a:gd name="T26" fmla="*/ 11 w 253"/>
                  <a:gd name="T27" fmla="*/ 102 h 505"/>
                  <a:gd name="T28" fmla="*/ 40 w 253"/>
                  <a:gd name="T29" fmla="*/ 292 h 505"/>
                  <a:gd name="T30" fmla="*/ 82 w 253"/>
                  <a:gd name="T31" fmla="*/ 502 h 505"/>
                  <a:gd name="T32" fmla="*/ 88 w 253"/>
                  <a:gd name="T33" fmla="*/ 499 h 505"/>
                  <a:gd name="T34" fmla="*/ 64 w 253"/>
                  <a:gd name="T35" fmla="*/ 420 h 505"/>
                  <a:gd name="T36" fmla="*/ 234 w 253"/>
                  <a:gd name="T37" fmla="*/ 399 h 505"/>
                  <a:gd name="T38" fmla="*/ 215 w 253"/>
                  <a:gd name="T39" fmla="*/ 475 h 505"/>
                  <a:gd name="T40" fmla="*/ 222 w 253"/>
                  <a:gd name="T41" fmla="*/ 478 h 505"/>
                  <a:gd name="T42" fmla="*/ 249 w 253"/>
                  <a:gd name="T43" fmla="*/ 340 h 505"/>
                  <a:gd name="T44" fmla="*/ 214 w 253"/>
                  <a:gd name="T45" fmla="*/ 238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53" h="505">
                    <a:moveTo>
                      <a:pt x="214" y="238"/>
                    </a:moveTo>
                    <a:cubicBezTo>
                      <a:pt x="217" y="222"/>
                      <a:pt x="219" y="205"/>
                      <a:pt x="222" y="190"/>
                    </a:cubicBezTo>
                    <a:cubicBezTo>
                      <a:pt x="227" y="160"/>
                      <a:pt x="230" y="131"/>
                      <a:pt x="232" y="102"/>
                    </a:cubicBezTo>
                    <a:cubicBezTo>
                      <a:pt x="235" y="100"/>
                      <a:pt x="235" y="95"/>
                      <a:pt x="233" y="93"/>
                    </a:cubicBezTo>
                    <a:cubicBezTo>
                      <a:pt x="234" y="80"/>
                      <a:pt x="234" y="66"/>
                      <a:pt x="234" y="53"/>
                    </a:cubicBezTo>
                    <a:cubicBezTo>
                      <a:pt x="234" y="50"/>
                      <a:pt x="230" y="50"/>
                      <a:pt x="229" y="53"/>
                    </a:cubicBezTo>
                    <a:cubicBezTo>
                      <a:pt x="228" y="66"/>
                      <a:pt x="226" y="79"/>
                      <a:pt x="224" y="92"/>
                    </a:cubicBezTo>
                    <a:cubicBezTo>
                      <a:pt x="156" y="101"/>
                      <a:pt x="91" y="102"/>
                      <a:pt x="24" y="91"/>
                    </a:cubicBezTo>
                    <a:cubicBezTo>
                      <a:pt x="26" y="62"/>
                      <a:pt x="29" y="33"/>
                      <a:pt x="35" y="5"/>
                    </a:cubicBezTo>
                    <a:cubicBezTo>
                      <a:pt x="36" y="1"/>
                      <a:pt x="30" y="0"/>
                      <a:pt x="29" y="3"/>
                    </a:cubicBezTo>
                    <a:cubicBezTo>
                      <a:pt x="21" y="30"/>
                      <a:pt x="15" y="59"/>
                      <a:pt x="12" y="89"/>
                    </a:cubicBezTo>
                    <a:cubicBezTo>
                      <a:pt x="12" y="89"/>
                      <a:pt x="11" y="89"/>
                      <a:pt x="11" y="88"/>
                    </a:cubicBezTo>
                    <a:cubicBezTo>
                      <a:pt x="3" y="87"/>
                      <a:pt x="0" y="99"/>
                      <a:pt x="8" y="101"/>
                    </a:cubicBezTo>
                    <a:cubicBezTo>
                      <a:pt x="9" y="101"/>
                      <a:pt x="10" y="101"/>
                      <a:pt x="11" y="102"/>
                    </a:cubicBezTo>
                    <a:cubicBezTo>
                      <a:pt x="7" y="166"/>
                      <a:pt x="16" y="233"/>
                      <a:pt x="40" y="292"/>
                    </a:cubicBezTo>
                    <a:cubicBezTo>
                      <a:pt x="34" y="364"/>
                      <a:pt x="48" y="439"/>
                      <a:pt x="82" y="502"/>
                    </a:cubicBezTo>
                    <a:cubicBezTo>
                      <a:pt x="84" y="505"/>
                      <a:pt x="90" y="502"/>
                      <a:pt x="88" y="499"/>
                    </a:cubicBezTo>
                    <a:cubicBezTo>
                      <a:pt x="79" y="473"/>
                      <a:pt x="71" y="447"/>
                      <a:pt x="64" y="420"/>
                    </a:cubicBezTo>
                    <a:cubicBezTo>
                      <a:pt x="119" y="440"/>
                      <a:pt x="188" y="436"/>
                      <a:pt x="234" y="399"/>
                    </a:cubicBezTo>
                    <a:cubicBezTo>
                      <a:pt x="230" y="424"/>
                      <a:pt x="223" y="449"/>
                      <a:pt x="215" y="475"/>
                    </a:cubicBezTo>
                    <a:cubicBezTo>
                      <a:pt x="213" y="480"/>
                      <a:pt x="220" y="482"/>
                      <a:pt x="222" y="478"/>
                    </a:cubicBezTo>
                    <a:cubicBezTo>
                      <a:pt x="248" y="440"/>
                      <a:pt x="253" y="385"/>
                      <a:pt x="249" y="340"/>
                    </a:cubicBezTo>
                    <a:cubicBezTo>
                      <a:pt x="245" y="303"/>
                      <a:pt x="234" y="269"/>
                      <a:pt x="214" y="238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2" name="Freeform 50">
                <a:extLst>
                  <a:ext uri="{FF2B5EF4-FFF2-40B4-BE49-F238E27FC236}">
                    <a16:creationId xmlns:a16="http://schemas.microsoft.com/office/drawing/2014/main" id="{1FE60E93-7590-696F-D24C-AE2FD71FD2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9120" y="5688643"/>
                <a:ext cx="98312" cy="176022"/>
              </a:xfrm>
              <a:custGeom>
                <a:avLst/>
                <a:gdLst>
                  <a:gd name="T0" fmla="*/ 229 w 230"/>
                  <a:gd name="T1" fmla="*/ 102 h 412"/>
                  <a:gd name="T2" fmla="*/ 223 w 230"/>
                  <a:gd name="T3" fmla="*/ 38 h 412"/>
                  <a:gd name="T4" fmla="*/ 224 w 230"/>
                  <a:gd name="T5" fmla="*/ 38 h 412"/>
                  <a:gd name="T6" fmla="*/ 223 w 230"/>
                  <a:gd name="T7" fmla="*/ 31 h 412"/>
                  <a:gd name="T8" fmla="*/ 222 w 230"/>
                  <a:gd name="T9" fmla="*/ 30 h 412"/>
                  <a:gd name="T10" fmla="*/ 217 w 230"/>
                  <a:gd name="T11" fmla="*/ 3 h 412"/>
                  <a:gd name="T12" fmla="*/ 213 w 230"/>
                  <a:gd name="T13" fmla="*/ 3 h 412"/>
                  <a:gd name="T14" fmla="*/ 214 w 230"/>
                  <a:gd name="T15" fmla="*/ 28 h 412"/>
                  <a:gd name="T16" fmla="*/ 175 w 230"/>
                  <a:gd name="T17" fmla="*/ 26 h 412"/>
                  <a:gd name="T18" fmla="*/ 119 w 230"/>
                  <a:gd name="T19" fmla="*/ 24 h 412"/>
                  <a:gd name="T20" fmla="*/ 33 w 230"/>
                  <a:gd name="T21" fmla="*/ 25 h 412"/>
                  <a:gd name="T22" fmla="*/ 30 w 230"/>
                  <a:gd name="T23" fmla="*/ 6 h 412"/>
                  <a:gd name="T24" fmla="*/ 25 w 230"/>
                  <a:gd name="T25" fmla="*/ 6 h 412"/>
                  <a:gd name="T26" fmla="*/ 26 w 230"/>
                  <a:gd name="T27" fmla="*/ 26 h 412"/>
                  <a:gd name="T28" fmla="*/ 8 w 230"/>
                  <a:gd name="T29" fmla="*/ 27 h 412"/>
                  <a:gd name="T30" fmla="*/ 8 w 230"/>
                  <a:gd name="T31" fmla="*/ 39 h 412"/>
                  <a:gd name="T32" fmla="*/ 26 w 230"/>
                  <a:gd name="T33" fmla="*/ 39 h 412"/>
                  <a:gd name="T34" fmla="*/ 59 w 230"/>
                  <a:gd name="T35" fmla="*/ 408 h 412"/>
                  <a:gd name="T36" fmla="*/ 66 w 230"/>
                  <a:gd name="T37" fmla="*/ 407 h 412"/>
                  <a:gd name="T38" fmla="*/ 59 w 230"/>
                  <a:gd name="T39" fmla="*/ 305 h 412"/>
                  <a:gd name="T40" fmla="*/ 203 w 230"/>
                  <a:gd name="T41" fmla="*/ 320 h 412"/>
                  <a:gd name="T42" fmla="*/ 197 w 230"/>
                  <a:gd name="T43" fmla="*/ 385 h 412"/>
                  <a:gd name="T44" fmla="*/ 204 w 230"/>
                  <a:gd name="T45" fmla="*/ 386 h 412"/>
                  <a:gd name="T46" fmla="*/ 229 w 230"/>
                  <a:gd name="T47" fmla="*/ 198 h 412"/>
                  <a:gd name="T48" fmla="*/ 229 w 230"/>
                  <a:gd name="T49" fmla="*/ 10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0" h="412">
                    <a:moveTo>
                      <a:pt x="229" y="102"/>
                    </a:moveTo>
                    <a:cubicBezTo>
                      <a:pt x="228" y="80"/>
                      <a:pt x="226" y="59"/>
                      <a:pt x="223" y="38"/>
                    </a:cubicBezTo>
                    <a:cubicBezTo>
                      <a:pt x="223" y="38"/>
                      <a:pt x="223" y="38"/>
                      <a:pt x="224" y="38"/>
                    </a:cubicBezTo>
                    <a:cubicBezTo>
                      <a:pt x="228" y="37"/>
                      <a:pt x="227" y="32"/>
                      <a:pt x="223" y="31"/>
                    </a:cubicBezTo>
                    <a:cubicBezTo>
                      <a:pt x="223" y="30"/>
                      <a:pt x="222" y="30"/>
                      <a:pt x="222" y="30"/>
                    </a:cubicBezTo>
                    <a:cubicBezTo>
                      <a:pt x="220" y="21"/>
                      <a:pt x="219" y="12"/>
                      <a:pt x="217" y="3"/>
                    </a:cubicBezTo>
                    <a:cubicBezTo>
                      <a:pt x="217" y="0"/>
                      <a:pt x="212" y="0"/>
                      <a:pt x="213" y="3"/>
                    </a:cubicBezTo>
                    <a:cubicBezTo>
                      <a:pt x="213" y="11"/>
                      <a:pt x="214" y="20"/>
                      <a:pt x="214" y="28"/>
                    </a:cubicBezTo>
                    <a:cubicBezTo>
                      <a:pt x="202" y="26"/>
                      <a:pt x="188" y="26"/>
                      <a:pt x="175" y="26"/>
                    </a:cubicBezTo>
                    <a:cubicBezTo>
                      <a:pt x="157" y="25"/>
                      <a:pt x="138" y="24"/>
                      <a:pt x="119" y="24"/>
                    </a:cubicBezTo>
                    <a:cubicBezTo>
                      <a:pt x="90" y="23"/>
                      <a:pt x="62" y="24"/>
                      <a:pt x="33" y="25"/>
                    </a:cubicBezTo>
                    <a:cubicBezTo>
                      <a:pt x="32" y="19"/>
                      <a:pt x="31" y="13"/>
                      <a:pt x="30" y="6"/>
                    </a:cubicBezTo>
                    <a:cubicBezTo>
                      <a:pt x="30" y="3"/>
                      <a:pt x="25" y="3"/>
                      <a:pt x="25" y="6"/>
                    </a:cubicBezTo>
                    <a:cubicBezTo>
                      <a:pt x="25" y="13"/>
                      <a:pt x="25" y="19"/>
                      <a:pt x="26" y="26"/>
                    </a:cubicBezTo>
                    <a:cubicBezTo>
                      <a:pt x="20" y="26"/>
                      <a:pt x="14" y="26"/>
                      <a:pt x="8" y="27"/>
                    </a:cubicBezTo>
                    <a:cubicBezTo>
                      <a:pt x="0" y="27"/>
                      <a:pt x="0" y="40"/>
                      <a:pt x="8" y="39"/>
                    </a:cubicBezTo>
                    <a:cubicBezTo>
                      <a:pt x="14" y="39"/>
                      <a:pt x="20" y="39"/>
                      <a:pt x="26" y="39"/>
                    </a:cubicBezTo>
                    <a:cubicBezTo>
                      <a:pt x="33" y="162"/>
                      <a:pt x="44" y="285"/>
                      <a:pt x="59" y="408"/>
                    </a:cubicBezTo>
                    <a:cubicBezTo>
                      <a:pt x="59" y="412"/>
                      <a:pt x="66" y="412"/>
                      <a:pt x="66" y="407"/>
                    </a:cubicBezTo>
                    <a:cubicBezTo>
                      <a:pt x="64" y="373"/>
                      <a:pt x="62" y="339"/>
                      <a:pt x="59" y="305"/>
                    </a:cubicBezTo>
                    <a:cubicBezTo>
                      <a:pt x="105" y="324"/>
                      <a:pt x="154" y="328"/>
                      <a:pt x="203" y="320"/>
                    </a:cubicBezTo>
                    <a:cubicBezTo>
                      <a:pt x="200" y="342"/>
                      <a:pt x="198" y="363"/>
                      <a:pt x="197" y="385"/>
                    </a:cubicBezTo>
                    <a:cubicBezTo>
                      <a:pt x="196" y="389"/>
                      <a:pt x="202" y="389"/>
                      <a:pt x="204" y="386"/>
                    </a:cubicBezTo>
                    <a:cubicBezTo>
                      <a:pt x="223" y="327"/>
                      <a:pt x="226" y="260"/>
                      <a:pt x="229" y="198"/>
                    </a:cubicBezTo>
                    <a:cubicBezTo>
                      <a:pt x="230" y="166"/>
                      <a:pt x="230" y="134"/>
                      <a:pt x="229" y="102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3" name="Freeform 51">
                <a:extLst>
                  <a:ext uri="{FF2B5EF4-FFF2-40B4-BE49-F238E27FC236}">
                    <a16:creationId xmlns:a16="http://schemas.microsoft.com/office/drawing/2014/main" id="{B56FD9A5-39D6-0D4B-EC47-7C9136CB4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8098" y="5359188"/>
                <a:ext cx="300720" cy="363250"/>
              </a:xfrm>
              <a:custGeom>
                <a:avLst/>
                <a:gdLst>
                  <a:gd name="T0" fmla="*/ 704 w 704"/>
                  <a:gd name="T1" fmla="*/ 286 h 850"/>
                  <a:gd name="T2" fmla="*/ 624 w 704"/>
                  <a:gd name="T3" fmla="*/ 4 h 850"/>
                  <a:gd name="T4" fmla="*/ 619 w 704"/>
                  <a:gd name="T5" fmla="*/ 5 h 850"/>
                  <a:gd name="T6" fmla="*/ 620 w 704"/>
                  <a:gd name="T7" fmla="*/ 8 h 850"/>
                  <a:gd name="T8" fmla="*/ 374 w 704"/>
                  <a:gd name="T9" fmla="*/ 55 h 850"/>
                  <a:gd name="T10" fmla="*/ 114 w 704"/>
                  <a:gd name="T11" fmla="*/ 41 h 850"/>
                  <a:gd name="T12" fmla="*/ 111 w 704"/>
                  <a:gd name="T13" fmla="*/ 53 h 850"/>
                  <a:gd name="T14" fmla="*/ 110 w 704"/>
                  <a:gd name="T15" fmla="*/ 174 h 850"/>
                  <a:gd name="T16" fmla="*/ 2 w 704"/>
                  <a:gd name="T17" fmla="*/ 808 h 850"/>
                  <a:gd name="T18" fmla="*/ 2 w 704"/>
                  <a:gd name="T19" fmla="*/ 813 h 850"/>
                  <a:gd name="T20" fmla="*/ 291 w 704"/>
                  <a:gd name="T21" fmla="*/ 834 h 850"/>
                  <a:gd name="T22" fmla="*/ 437 w 704"/>
                  <a:gd name="T23" fmla="*/ 812 h 850"/>
                  <a:gd name="T24" fmla="*/ 572 w 704"/>
                  <a:gd name="T25" fmla="*/ 828 h 850"/>
                  <a:gd name="T26" fmla="*/ 657 w 704"/>
                  <a:gd name="T27" fmla="*/ 810 h 850"/>
                  <a:gd name="T28" fmla="*/ 662 w 704"/>
                  <a:gd name="T29" fmla="*/ 551 h 850"/>
                  <a:gd name="T30" fmla="*/ 665 w 704"/>
                  <a:gd name="T31" fmla="*/ 541 h 850"/>
                  <a:gd name="T32" fmla="*/ 685 w 704"/>
                  <a:gd name="T33" fmla="*/ 468 h 850"/>
                  <a:gd name="T34" fmla="*/ 704 w 704"/>
                  <a:gd name="T35" fmla="*/ 286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04" h="850">
                    <a:moveTo>
                      <a:pt x="704" y="286"/>
                    </a:moveTo>
                    <a:cubicBezTo>
                      <a:pt x="704" y="183"/>
                      <a:pt x="644" y="64"/>
                      <a:pt x="624" y="4"/>
                    </a:cubicBezTo>
                    <a:cubicBezTo>
                      <a:pt x="623" y="0"/>
                      <a:pt x="618" y="2"/>
                      <a:pt x="619" y="5"/>
                    </a:cubicBezTo>
                    <a:cubicBezTo>
                      <a:pt x="619" y="6"/>
                      <a:pt x="619" y="7"/>
                      <a:pt x="620" y="8"/>
                    </a:cubicBezTo>
                    <a:cubicBezTo>
                      <a:pt x="528" y="29"/>
                      <a:pt x="468" y="49"/>
                      <a:pt x="374" y="55"/>
                    </a:cubicBezTo>
                    <a:cubicBezTo>
                      <a:pt x="281" y="60"/>
                      <a:pt x="206" y="55"/>
                      <a:pt x="114" y="41"/>
                    </a:cubicBezTo>
                    <a:cubicBezTo>
                      <a:pt x="106" y="40"/>
                      <a:pt x="103" y="52"/>
                      <a:pt x="111" y="53"/>
                    </a:cubicBezTo>
                    <a:cubicBezTo>
                      <a:pt x="105" y="92"/>
                      <a:pt x="109" y="135"/>
                      <a:pt x="110" y="174"/>
                    </a:cubicBezTo>
                    <a:cubicBezTo>
                      <a:pt x="100" y="211"/>
                      <a:pt x="9" y="762"/>
                      <a:pt x="2" y="808"/>
                    </a:cubicBezTo>
                    <a:cubicBezTo>
                      <a:pt x="1" y="810"/>
                      <a:pt x="0" y="812"/>
                      <a:pt x="2" y="813"/>
                    </a:cubicBezTo>
                    <a:cubicBezTo>
                      <a:pt x="3" y="817"/>
                      <a:pt x="112" y="850"/>
                      <a:pt x="291" y="834"/>
                    </a:cubicBezTo>
                    <a:cubicBezTo>
                      <a:pt x="340" y="830"/>
                      <a:pt x="389" y="823"/>
                      <a:pt x="437" y="812"/>
                    </a:cubicBezTo>
                    <a:cubicBezTo>
                      <a:pt x="481" y="820"/>
                      <a:pt x="527" y="826"/>
                      <a:pt x="572" y="828"/>
                    </a:cubicBezTo>
                    <a:cubicBezTo>
                      <a:pt x="605" y="830"/>
                      <a:pt x="656" y="817"/>
                      <a:pt x="657" y="810"/>
                    </a:cubicBezTo>
                    <a:cubicBezTo>
                      <a:pt x="663" y="717"/>
                      <a:pt x="668" y="627"/>
                      <a:pt x="662" y="551"/>
                    </a:cubicBezTo>
                    <a:cubicBezTo>
                      <a:pt x="663" y="548"/>
                      <a:pt x="664" y="544"/>
                      <a:pt x="665" y="541"/>
                    </a:cubicBezTo>
                    <a:cubicBezTo>
                      <a:pt x="673" y="517"/>
                      <a:pt x="680" y="493"/>
                      <a:pt x="685" y="468"/>
                    </a:cubicBezTo>
                    <a:cubicBezTo>
                      <a:pt x="692" y="439"/>
                      <a:pt x="704" y="316"/>
                      <a:pt x="704" y="286"/>
                    </a:cubicBezTo>
                    <a:close/>
                  </a:path>
                </a:pathLst>
              </a:custGeom>
              <a:solidFill>
                <a:srgbClr val="5974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4" name="Freeform 52">
                <a:extLst>
                  <a:ext uri="{FF2B5EF4-FFF2-40B4-BE49-F238E27FC236}">
                    <a16:creationId xmlns:a16="http://schemas.microsoft.com/office/drawing/2014/main" id="{9A622ECE-6C2F-7A83-6DCD-CB3BF17FC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278" y="4942083"/>
                <a:ext cx="126866" cy="151806"/>
              </a:xfrm>
              <a:custGeom>
                <a:avLst/>
                <a:gdLst>
                  <a:gd name="T0" fmla="*/ 281 w 297"/>
                  <a:gd name="T1" fmla="*/ 144 h 355"/>
                  <a:gd name="T2" fmla="*/ 258 w 297"/>
                  <a:gd name="T3" fmla="*/ 18 h 355"/>
                  <a:gd name="T4" fmla="*/ 256 w 297"/>
                  <a:gd name="T5" fmla="*/ 7 h 355"/>
                  <a:gd name="T6" fmla="*/ 255 w 297"/>
                  <a:gd name="T7" fmla="*/ 4 h 355"/>
                  <a:gd name="T8" fmla="*/ 249 w 297"/>
                  <a:gd name="T9" fmla="*/ 5 h 355"/>
                  <a:gd name="T10" fmla="*/ 249 w 297"/>
                  <a:gd name="T11" fmla="*/ 7 h 355"/>
                  <a:gd name="T12" fmla="*/ 131 w 297"/>
                  <a:gd name="T13" fmla="*/ 38 h 355"/>
                  <a:gd name="T14" fmla="*/ 57 w 297"/>
                  <a:gd name="T15" fmla="*/ 79 h 355"/>
                  <a:gd name="T16" fmla="*/ 10 w 297"/>
                  <a:gd name="T17" fmla="*/ 226 h 355"/>
                  <a:gd name="T18" fmla="*/ 142 w 297"/>
                  <a:gd name="T19" fmla="*/ 347 h 355"/>
                  <a:gd name="T20" fmla="*/ 282 w 297"/>
                  <a:gd name="T21" fmla="*/ 268 h 355"/>
                  <a:gd name="T22" fmla="*/ 281 w 297"/>
                  <a:gd name="T23" fmla="*/ 144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7" h="355">
                    <a:moveTo>
                      <a:pt x="281" y="144"/>
                    </a:moveTo>
                    <a:cubicBezTo>
                      <a:pt x="274" y="102"/>
                      <a:pt x="267" y="60"/>
                      <a:pt x="258" y="18"/>
                    </a:cubicBezTo>
                    <a:cubicBezTo>
                      <a:pt x="263" y="15"/>
                      <a:pt x="261" y="8"/>
                      <a:pt x="256" y="7"/>
                    </a:cubicBezTo>
                    <a:cubicBezTo>
                      <a:pt x="255" y="6"/>
                      <a:pt x="255" y="5"/>
                      <a:pt x="255" y="4"/>
                    </a:cubicBezTo>
                    <a:cubicBezTo>
                      <a:pt x="254" y="0"/>
                      <a:pt x="249" y="1"/>
                      <a:pt x="249" y="5"/>
                    </a:cubicBezTo>
                    <a:cubicBezTo>
                      <a:pt x="249" y="6"/>
                      <a:pt x="249" y="6"/>
                      <a:pt x="249" y="7"/>
                    </a:cubicBezTo>
                    <a:cubicBezTo>
                      <a:pt x="210" y="17"/>
                      <a:pt x="171" y="27"/>
                      <a:pt x="131" y="38"/>
                    </a:cubicBezTo>
                    <a:cubicBezTo>
                      <a:pt x="103" y="46"/>
                      <a:pt x="78" y="58"/>
                      <a:pt x="57" y="79"/>
                    </a:cubicBezTo>
                    <a:cubicBezTo>
                      <a:pt x="19" y="116"/>
                      <a:pt x="0" y="173"/>
                      <a:pt x="10" y="226"/>
                    </a:cubicBezTo>
                    <a:cubicBezTo>
                      <a:pt x="23" y="289"/>
                      <a:pt x="78" y="339"/>
                      <a:pt x="142" y="347"/>
                    </a:cubicBezTo>
                    <a:cubicBezTo>
                      <a:pt x="200" y="355"/>
                      <a:pt x="260" y="324"/>
                      <a:pt x="282" y="268"/>
                    </a:cubicBezTo>
                    <a:cubicBezTo>
                      <a:pt x="297" y="228"/>
                      <a:pt x="287" y="185"/>
                      <a:pt x="281" y="144"/>
                    </a:cubicBezTo>
                    <a:close/>
                  </a:path>
                </a:pathLst>
              </a:custGeom>
              <a:solidFill>
                <a:srgbClr val="EBC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5" name="Freeform 53">
                <a:extLst>
                  <a:ext uri="{FF2B5EF4-FFF2-40B4-BE49-F238E27FC236}">
                    <a16:creationId xmlns:a16="http://schemas.microsoft.com/office/drawing/2014/main" id="{E663E7BB-52E4-67B1-E207-9C6BEA440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363" y="5019071"/>
                <a:ext cx="293853" cy="369575"/>
              </a:xfrm>
              <a:custGeom>
                <a:avLst/>
                <a:gdLst>
                  <a:gd name="T0" fmla="*/ 688 w 688"/>
                  <a:gd name="T1" fmla="*/ 104 h 865"/>
                  <a:gd name="T2" fmla="*/ 688 w 688"/>
                  <a:gd name="T3" fmla="*/ 102 h 865"/>
                  <a:gd name="T4" fmla="*/ 683 w 688"/>
                  <a:gd name="T5" fmla="*/ 100 h 865"/>
                  <a:gd name="T6" fmla="*/ 538 w 688"/>
                  <a:gd name="T7" fmla="*/ 27 h 865"/>
                  <a:gd name="T8" fmla="*/ 479 w 688"/>
                  <a:gd name="T9" fmla="*/ 32 h 865"/>
                  <a:gd name="T10" fmla="*/ 437 w 688"/>
                  <a:gd name="T11" fmla="*/ 86 h 865"/>
                  <a:gd name="T12" fmla="*/ 284 w 688"/>
                  <a:gd name="T13" fmla="*/ 127 h 865"/>
                  <a:gd name="T14" fmla="*/ 182 w 688"/>
                  <a:gd name="T15" fmla="*/ 13 h 865"/>
                  <a:gd name="T16" fmla="*/ 181 w 688"/>
                  <a:gd name="T17" fmla="*/ 8 h 865"/>
                  <a:gd name="T18" fmla="*/ 181 w 688"/>
                  <a:gd name="T19" fmla="*/ 7 h 865"/>
                  <a:gd name="T20" fmla="*/ 167 w 688"/>
                  <a:gd name="T21" fmla="*/ 7 h 865"/>
                  <a:gd name="T22" fmla="*/ 38 w 688"/>
                  <a:gd name="T23" fmla="*/ 35 h 865"/>
                  <a:gd name="T24" fmla="*/ 34 w 688"/>
                  <a:gd name="T25" fmla="*/ 36 h 865"/>
                  <a:gd name="T26" fmla="*/ 8 w 688"/>
                  <a:gd name="T27" fmla="*/ 45 h 865"/>
                  <a:gd name="T28" fmla="*/ 12 w 688"/>
                  <a:gd name="T29" fmla="*/ 57 h 865"/>
                  <a:gd name="T30" fmla="*/ 24 w 688"/>
                  <a:gd name="T31" fmla="*/ 53 h 865"/>
                  <a:gd name="T32" fmla="*/ 13 w 688"/>
                  <a:gd name="T33" fmla="*/ 136 h 865"/>
                  <a:gd name="T34" fmla="*/ 15 w 688"/>
                  <a:gd name="T35" fmla="*/ 274 h 865"/>
                  <a:gd name="T36" fmla="*/ 56 w 688"/>
                  <a:gd name="T37" fmla="*/ 528 h 865"/>
                  <a:gd name="T38" fmla="*/ 94 w 688"/>
                  <a:gd name="T39" fmla="*/ 586 h 865"/>
                  <a:gd name="T40" fmla="*/ 60 w 688"/>
                  <a:gd name="T41" fmla="*/ 851 h 865"/>
                  <a:gd name="T42" fmla="*/ 60 w 688"/>
                  <a:gd name="T43" fmla="*/ 851 h 865"/>
                  <a:gd name="T44" fmla="*/ 63 w 688"/>
                  <a:gd name="T45" fmla="*/ 856 h 865"/>
                  <a:gd name="T46" fmla="*/ 106 w 688"/>
                  <a:gd name="T47" fmla="*/ 863 h 865"/>
                  <a:gd name="T48" fmla="*/ 185 w 688"/>
                  <a:gd name="T49" fmla="*/ 864 h 865"/>
                  <a:gd name="T50" fmla="*/ 325 w 688"/>
                  <a:gd name="T51" fmla="*/ 860 h 865"/>
                  <a:gd name="T52" fmla="*/ 558 w 688"/>
                  <a:gd name="T53" fmla="*/ 823 h 865"/>
                  <a:gd name="T54" fmla="*/ 594 w 688"/>
                  <a:gd name="T55" fmla="*/ 808 h 865"/>
                  <a:gd name="T56" fmla="*/ 587 w 688"/>
                  <a:gd name="T57" fmla="*/ 607 h 865"/>
                  <a:gd name="T58" fmla="*/ 607 w 688"/>
                  <a:gd name="T59" fmla="*/ 503 h 865"/>
                  <a:gd name="T60" fmla="*/ 635 w 688"/>
                  <a:gd name="T61" fmla="*/ 370 h 865"/>
                  <a:gd name="T62" fmla="*/ 664 w 688"/>
                  <a:gd name="T63" fmla="*/ 236 h 865"/>
                  <a:gd name="T64" fmla="*/ 678 w 688"/>
                  <a:gd name="T65" fmla="*/ 165 h 865"/>
                  <a:gd name="T66" fmla="*/ 688 w 688"/>
                  <a:gd name="T67" fmla="*/ 105 h 865"/>
                  <a:gd name="T68" fmla="*/ 688 w 688"/>
                  <a:gd name="T69" fmla="*/ 104 h 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88" h="865">
                    <a:moveTo>
                      <a:pt x="688" y="104"/>
                    </a:moveTo>
                    <a:cubicBezTo>
                      <a:pt x="688" y="103"/>
                      <a:pt x="688" y="102"/>
                      <a:pt x="688" y="102"/>
                    </a:cubicBezTo>
                    <a:cubicBezTo>
                      <a:pt x="688" y="99"/>
                      <a:pt x="685" y="98"/>
                      <a:pt x="683" y="100"/>
                    </a:cubicBezTo>
                    <a:cubicBezTo>
                      <a:pt x="641" y="67"/>
                      <a:pt x="590" y="40"/>
                      <a:pt x="538" y="27"/>
                    </a:cubicBezTo>
                    <a:cubicBezTo>
                      <a:pt x="518" y="21"/>
                      <a:pt x="496" y="20"/>
                      <a:pt x="479" y="32"/>
                    </a:cubicBezTo>
                    <a:cubicBezTo>
                      <a:pt x="461" y="46"/>
                      <a:pt x="453" y="70"/>
                      <a:pt x="437" y="86"/>
                    </a:cubicBezTo>
                    <a:cubicBezTo>
                      <a:pt x="399" y="126"/>
                      <a:pt x="337" y="144"/>
                      <a:pt x="284" y="127"/>
                    </a:cubicBezTo>
                    <a:cubicBezTo>
                      <a:pt x="232" y="110"/>
                      <a:pt x="194" y="65"/>
                      <a:pt x="182" y="13"/>
                    </a:cubicBezTo>
                    <a:cubicBezTo>
                      <a:pt x="184" y="12"/>
                      <a:pt x="183" y="9"/>
                      <a:pt x="181" y="8"/>
                    </a:cubicBezTo>
                    <a:cubicBezTo>
                      <a:pt x="181" y="8"/>
                      <a:pt x="181" y="7"/>
                      <a:pt x="181" y="7"/>
                    </a:cubicBezTo>
                    <a:cubicBezTo>
                      <a:pt x="179" y="0"/>
                      <a:pt x="169" y="1"/>
                      <a:pt x="167" y="7"/>
                    </a:cubicBezTo>
                    <a:cubicBezTo>
                      <a:pt x="119" y="5"/>
                      <a:pt x="85" y="19"/>
                      <a:pt x="38" y="35"/>
                    </a:cubicBezTo>
                    <a:cubicBezTo>
                      <a:pt x="36" y="35"/>
                      <a:pt x="35" y="35"/>
                      <a:pt x="34" y="36"/>
                    </a:cubicBezTo>
                    <a:cubicBezTo>
                      <a:pt x="25" y="39"/>
                      <a:pt x="16" y="42"/>
                      <a:pt x="8" y="45"/>
                    </a:cubicBezTo>
                    <a:cubicBezTo>
                      <a:pt x="0" y="48"/>
                      <a:pt x="4" y="60"/>
                      <a:pt x="12" y="57"/>
                    </a:cubicBezTo>
                    <a:cubicBezTo>
                      <a:pt x="16" y="56"/>
                      <a:pt x="20" y="54"/>
                      <a:pt x="24" y="53"/>
                    </a:cubicBezTo>
                    <a:cubicBezTo>
                      <a:pt x="12" y="79"/>
                      <a:pt x="10" y="108"/>
                      <a:pt x="13" y="136"/>
                    </a:cubicBezTo>
                    <a:cubicBezTo>
                      <a:pt x="17" y="182"/>
                      <a:pt x="7" y="228"/>
                      <a:pt x="15" y="274"/>
                    </a:cubicBezTo>
                    <a:cubicBezTo>
                      <a:pt x="28" y="358"/>
                      <a:pt x="38" y="444"/>
                      <a:pt x="56" y="528"/>
                    </a:cubicBezTo>
                    <a:cubicBezTo>
                      <a:pt x="56" y="528"/>
                      <a:pt x="94" y="586"/>
                      <a:pt x="94" y="586"/>
                    </a:cubicBezTo>
                    <a:cubicBezTo>
                      <a:pt x="79" y="693"/>
                      <a:pt x="69" y="743"/>
                      <a:pt x="60" y="851"/>
                    </a:cubicBezTo>
                    <a:cubicBezTo>
                      <a:pt x="60" y="851"/>
                      <a:pt x="60" y="851"/>
                      <a:pt x="60" y="851"/>
                    </a:cubicBezTo>
                    <a:cubicBezTo>
                      <a:pt x="59" y="853"/>
                      <a:pt x="60" y="856"/>
                      <a:pt x="63" y="856"/>
                    </a:cubicBezTo>
                    <a:cubicBezTo>
                      <a:pt x="86" y="863"/>
                      <a:pt x="82" y="862"/>
                      <a:pt x="106" y="863"/>
                    </a:cubicBezTo>
                    <a:cubicBezTo>
                      <a:pt x="132" y="864"/>
                      <a:pt x="159" y="864"/>
                      <a:pt x="185" y="864"/>
                    </a:cubicBezTo>
                    <a:cubicBezTo>
                      <a:pt x="238" y="865"/>
                      <a:pt x="272" y="863"/>
                      <a:pt x="325" y="860"/>
                    </a:cubicBezTo>
                    <a:cubicBezTo>
                      <a:pt x="428" y="853"/>
                      <a:pt x="457" y="843"/>
                      <a:pt x="558" y="823"/>
                    </a:cubicBezTo>
                    <a:cubicBezTo>
                      <a:pt x="565" y="822"/>
                      <a:pt x="595" y="815"/>
                      <a:pt x="594" y="808"/>
                    </a:cubicBezTo>
                    <a:cubicBezTo>
                      <a:pt x="573" y="741"/>
                      <a:pt x="598" y="674"/>
                      <a:pt x="587" y="607"/>
                    </a:cubicBezTo>
                    <a:cubicBezTo>
                      <a:pt x="596" y="573"/>
                      <a:pt x="600" y="536"/>
                      <a:pt x="607" y="503"/>
                    </a:cubicBezTo>
                    <a:cubicBezTo>
                      <a:pt x="617" y="459"/>
                      <a:pt x="626" y="414"/>
                      <a:pt x="635" y="370"/>
                    </a:cubicBezTo>
                    <a:cubicBezTo>
                      <a:pt x="645" y="325"/>
                      <a:pt x="654" y="281"/>
                      <a:pt x="664" y="236"/>
                    </a:cubicBezTo>
                    <a:cubicBezTo>
                      <a:pt x="669" y="213"/>
                      <a:pt x="673" y="189"/>
                      <a:pt x="678" y="165"/>
                    </a:cubicBezTo>
                    <a:cubicBezTo>
                      <a:pt x="682" y="145"/>
                      <a:pt x="688" y="125"/>
                      <a:pt x="688" y="105"/>
                    </a:cubicBezTo>
                    <a:cubicBezTo>
                      <a:pt x="688" y="105"/>
                      <a:pt x="688" y="104"/>
                      <a:pt x="688" y="104"/>
                    </a:cubicBez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6" name="Freeform 54">
                <a:extLst>
                  <a:ext uri="{FF2B5EF4-FFF2-40B4-BE49-F238E27FC236}">
                    <a16:creationId xmlns:a16="http://schemas.microsoft.com/office/drawing/2014/main" id="{6C72EDEF-FC40-064D-DA56-FCB9FAF1D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5508" y="5023769"/>
                <a:ext cx="190841" cy="280299"/>
              </a:xfrm>
              <a:custGeom>
                <a:avLst/>
                <a:gdLst>
                  <a:gd name="T0" fmla="*/ 445 w 447"/>
                  <a:gd name="T1" fmla="*/ 564 h 656"/>
                  <a:gd name="T2" fmla="*/ 436 w 447"/>
                  <a:gd name="T3" fmla="*/ 559 h 656"/>
                  <a:gd name="T4" fmla="*/ 435 w 447"/>
                  <a:gd name="T5" fmla="*/ 560 h 656"/>
                  <a:gd name="T6" fmla="*/ 309 w 447"/>
                  <a:gd name="T7" fmla="*/ 515 h 656"/>
                  <a:gd name="T8" fmla="*/ 257 w 447"/>
                  <a:gd name="T9" fmla="*/ 497 h 656"/>
                  <a:gd name="T10" fmla="*/ 209 w 447"/>
                  <a:gd name="T11" fmla="*/ 478 h 656"/>
                  <a:gd name="T12" fmla="*/ 148 w 447"/>
                  <a:gd name="T13" fmla="*/ 453 h 656"/>
                  <a:gd name="T14" fmla="*/ 177 w 447"/>
                  <a:gd name="T15" fmla="*/ 188 h 656"/>
                  <a:gd name="T16" fmla="*/ 173 w 447"/>
                  <a:gd name="T17" fmla="*/ 102 h 656"/>
                  <a:gd name="T18" fmla="*/ 138 w 447"/>
                  <a:gd name="T19" fmla="*/ 30 h 656"/>
                  <a:gd name="T20" fmla="*/ 21 w 447"/>
                  <a:gd name="T21" fmla="*/ 285 h 656"/>
                  <a:gd name="T22" fmla="*/ 7 w 447"/>
                  <a:gd name="T23" fmla="*/ 400 h 656"/>
                  <a:gd name="T24" fmla="*/ 10 w 447"/>
                  <a:gd name="T25" fmla="*/ 516 h 656"/>
                  <a:gd name="T26" fmla="*/ 15 w 447"/>
                  <a:gd name="T27" fmla="*/ 565 h 656"/>
                  <a:gd name="T28" fmla="*/ 30 w 447"/>
                  <a:gd name="T29" fmla="*/ 597 h 656"/>
                  <a:gd name="T30" fmla="*/ 426 w 447"/>
                  <a:gd name="T31" fmla="*/ 643 h 656"/>
                  <a:gd name="T32" fmla="*/ 428 w 447"/>
                  <a:gd name="T33" fmla="*/ 642 h 656"/>
                  <a:gd name="T34" fmla="*/ 435 w 447"/>
                  <a:gd name="T35" fmla="*/ 636 h 656"/>
                  <a:gd name="T36" fmla="*/ 435 w 447"/>
                  <a:gd name="T37" fmla="*/ 598 h 656"/>
                  <a:gd name="T38" fmla="*/ 445 w 447"/>
                  <a:gd name="T39" fmla="*/ 564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47" h="656">
                    <a:moveTo>
                      <a:pt x="445" y="564"/>
                    </a:moveTo>
                    <a:cubicBezTo>
                      <a:pt x="447" y="559"/>
                      <a:pt x="439" y="555"/>
                      <a:pt x="436" y="559"/>
                    </a:cubicBezTo>
                    <a:cubicBezTo>
                      <a:pt x="436" y="559"/>
                      <a:pt x="435" y="560"/>
                      <a:pt x="435" y="560"/>
                    </a:cubicBezTo>
                    <a:cubicBezTo>
                      <a:pt x="396" y="541"/>
                      <a:pt x="351" y="529"/>
                      <a:pt x="309" y="515"/>
                    </a:cubicBezTo>
                    <a:cubicBezTo>
                      <a:pt x="292" y="508"/>
                      <a:pt x="274" y="503"/>
                      <a:pt x="257" y="497"/>
                    </a:cubicBezTo>
                    <a:cubicBezTo>
                      <a:pt x="241" y="491"/>
                      <a:pt x="225" y="484"/>
                      <a:pt x="209" y="478"/>
                    </a:cubicBezTo>
                    <a:cubicBezTo>
                      <a:pt x="189" y="470"/>
                      <a:pt x="168" y="460"/>
                      <a:pt x="148" y="453"/>
                    </a:cubicBezTo>
                    <a:cubicBezTo>
                      <a:pt x="158" y="366"/>
                      <a:pt x="182" y="276"/>
                      <a:pt x="177" y="188"/>
                    </a:cubicBezTo>
                    <a:cubicBezTo>
                      <a:pt x="181" y="159"/>
                      <a:pt x="180" y="131"/>
                      <a:pt x="173" y="102"/>
                    </a:cubicBezTo>
                    <a:cubicBezTo>
                      <a:pt x="168" y="79"/>
                      <a:pt x="162" y="38"/>
                      <a:pt x="138" y="30"/>
                    </a:cubicBezTo>
                    <a:cubicBezTo>
                      <a:pt x="47" y="0"/>
                      <a:pt x="29" y="244"/>
                      <a:pt x="21" y="285"/>
                    </a:cubicBezTo>
                    <a:cubicBezTo>
                      <a:pt x="14" y="323"/>
                      <a:pt x="9" y="362"/>
                      <a:pt x="7" y="400"/>
                    </a:cubicBezTo>
                    <a:cubicBezTo>
                      <a:pt x="4" y="437"/>
                      <a:pt x="0" y="479"/>
                      <a:pt x="10" y="516"/>
                    </a:cubicBezTo>
                    <a:cubicBezTo>
                      <a:pt x="9" y="533"/>
                      <a:pt x="12" y="550"/>
                      <a:pt x="15" y="565"/>
                    </a:cubicBezTo>
                    <a:cubicBezTo>
                      <a:pt x="18" y="576"/>
                      <a:pt x="22" y="588"/>
                      <a:pt x="30" y="597"/>
                    </a:cubicBezTo>
                    <a:cubicBezTo>
                      <a:pt x="34" y="601"/>
                      <a:pt x="291" y="656"/>
                      <a:pt x="426" y="643"/>
                    </a:cubicBezTo>
                    <a:cubicBezTo>
                      <a:pt x="426" y="643"/>
                      <a:pt x="427" y="643"/>
                      <a:pt x="428" y="642"/>
                    </a:cubicBezTo>
                    <a:cubicBezTo>
                      <a:pt x="431" y="643"/>
                      <a:pt x="435" y="641"/>
                      <a:pt x="435" y="636"/>
                    </a:cubicBezTo>
                    <a:cubicBezTo>
                      <a:pt x="434" y="623"/>
                      <a:pt x="432" y="611"/>
                      <a:pt x="435" y="598"/>
                    </a:cubicBezTo>
                    <a:cubicBezTo>
                      <a:pt x="437" y="586"/>
                      <a:pt x="442" y="575"/>
                      <a:pt x="445" y="564"/>
                    </a:cubicBezTo>
                    <a:close/>
                  </a:path>
                </a:pathLst>
              </a:custGeom>
              <a:solidFill>
                <a:srgbClr val="BD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7" name="Freeform 55">
                <a:extLst>
                  <a:ext uri="{FF2B5EF4-FFF2-40B4-BE49-F238E27FC236}">
                    <a16:creationId xmlns:a16="http://schemas.microsoft.com/office/drawing/2014/main" id="{881096B5-36DB-9828-C4A6-AC761A1EF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7134" y="5821111"/>
                <a:ext cx="140059" cy="326382"/>
              </a:xfrm>
              <a:custGeom>
                <a:avLst/>
                <a:gdLst>
                  <a:gd name="T0" fmla="*/ 311 w 328"/>
                  <a:gd name="T1" fmla="*/ 572 h 764"/>
                  <a:gd name="T2" fmla="*/ 309 w 328"/>
                  <a:gd name="T3" fmla="*/ 464 h 764"/>
                  <a:gd name="T4" fmla="*/ 263 w 328"/>
                  <a:gd name="T5" fmla="*/ 393 h 764"/>
                  <a:gd name="T6" fmla="*/ 255 w 328"/>
                  <a:gd name="T7" fmla="*/ 241 h 764"/>
                  <a:gd name="T8" fmla="*/ 239 w 328"/>
                  <a:gd name="T9" fmla="*/ 4 h 764"/>
                  <a:gd name="T10" fmla="*/ 231 w 328"/>
                  <a:gd name="T11" fmla="*/ 4 h 764"/>
                  <a:gd name="T12" fmla="*/ 227 w 328"/>
                  <a:gd name="T13" fmla="*/ 5 h 764"/>
                  <a:gd name="T14" fmla="*/ 125 w 328"/>
                  <a:gd name="T15" fmla="*/ 41 h 764"/>
                  <a:gd name="T16" fmla="*/ 74 w 328"/>
                  <a:gd name="T17" fmla="*/ 42 h 764"/>
                  <a:gd name="T18" fmla="*/ 26 w 328"/>
                  <a:gd name="T19" fmla="*/ 34 h 764"/>
                  <a:gd name="T20" fmla="*/ 25 w 328"/>
                  <a:gd name="T21" fmla="*/ 42 h 764"/>
                  <a:gd name="T22" fmla="*/ 93 w 328"/>
                  <a:gd name="T23" fmla="*/ 275 h 764"/>
                  <a:gd name="T24" fmla="*/ 126 w 328"/>
                  <a:gd name="T25" fmla="*/ 389 h 764"/>
                  <a:gd name="T26" fmla="*/ 143 w 328"/>
                  <a:gd name="T27" fmla="*/ 454 h 764"/>
                  <a:gd name="T28" fmla="*/ 126 w 328"/>
                  <a:gd name="T29" fmla="*/ 562 h 764"/>
                  <a:gd name="T30" fmla="*/ 111 w 328"/>
                  <a:gd name="T31" fmla="*/ 625 h 764"/>
                  <a:gd name="T32" fmla="*/ 99 w 328"/>
                  <a:gd name="T33" fmla="*/ 669 h 764"/>
                  <a:gd name="T34" fmla="*/ 2 w 328"/>
                  <a:gd name="T35" fmla="*/ 732 h 764"/>
                  <a:gd name="T36" fmla="*/ 40 w 328"/>
                  <a:gd name="T37" fmla="*/ 756 h 764"/>
                  <a:gd name="T38" fmla="*/ 114 w 328"/>
                  <a:gd name="T39" fmla="*/ 763 h 764"/>
                  <a:gd name="T40" fmla="*/ 215 w 328"/>
                  <a:gd name="T41" fmla="*/ 728 h 764"/>
                  <a:gd name="T42" fmla="*/ 250 w 328"/>
                  <a:gd name="T43" fmla="*/ 618 h 764"/>
                  <a:gd name="T44" fmla="*/ 262 w 328"/>
                  <a:gd name="T45" fmla="*/ 692 h 764"/>
                  <a:gd name="T46" fmla="*/ 263 w 328"/>
                  <a:gd name="T47" fmla="*/ 693 h 764"/>
                  <a:gd name="T48" fmla="*/ 306 w 328"/>
                  <a:gd name="T49" fmla="*/ 694 h 764"/>
                  <a:gd name="T50" fmla="*/ 311 w 328"/>
                  <a:gd name="T51" fmla="*/ 572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8" h="764">
                    <a:moveTo>
                      <a:pt x="311" y="572"/>
                    </a:moveTo>
                    <a:cubicBezTo>
                      <a:pt x="328" y="539"/>
                      <a:pt x="324" y="497"/>
                      <a:pt x="309" y="464"/>
                    </a:cubicBezTo>
                    <a:cubicBezTo>
                      <a:pt x="296" y="438"/>
                      <a:pt x="278" y="416"/>
                      <a:pt x="263" y="393"/>
                    </a:cubicBezTo>
                    <a:cubicBezTo>
                      <a:pt x="261" y="342"/>
                      <a:pt x="257" y="291"/>
                      <a:pt x="255" y="241"/>
                    </a:cubicBezTo>
                    <a:cubicBezTo>
                      <a:pt x="250" y="162"/>
                      <a:pt x="250" y="82"/>
                      <a:pt x="239" y="4"/>
                    </a:cubicBezTo>
                    <a:cubicBezTo>
                      <a:pt x="238" y="0"/>
                      <a:pt x="232" y="0"/>
                      <a:pt x="231" y="4"/>
                    </a:cubicBezTo>
                    <a:cubicBezTo>
                      <a:pt x="230" y="4"/>
                      <a:pt x="229" y="4"/>
                      <a:pt x="227" y="5"/>
                    </a:cubicBezTo>
                    <a:cubicBezTo>
                      <a:pt x="196" y="24"/>
                      <a:pt x="161" y="37"/>
                      <a:pt x="125" y="41"/>
                    </a:cubicBezTo>
                    <a:cubicBezTo>
                      <a:pt x="108" y="43"/>
                      <a:pt x="91" y="43"/>
                      <a:pt x="74" y="42"/>
                    </a:cubicBezTo>
                    <a:cubicBezTo>
                      <a:pt x="58" y="40"/>
                      <a:pt x="42" y="34"/>
                      <a:pt x="26" y="34"/>
                    </a:cubicBezTo>
                    <a:cubicBezTo>
                      <a:pt x="22" y="34"/>
                      <a:pt x="21" y="40"/>
                      <a:pt x="25" y="42"/>
                    </a:cubicBezTo>
                    <a:cubicBezTo>
                      <a:pt x="26" y="44"/>
                      <a:pt x="72" y="199"/>
                      <a:pt x="93" y="275"/>
                    </a:cubicBezTo>
                    <a:cubicBezTo>
                      <a:pt x="104" y="313"/>
                      <a:pt x="115" y="351"/>
                      <a:pt x="126" y="389"/>
                    </a:cubicBezTo>
                    <a:cubicBezTo>
                      <a:pt x="132" y="410"/>
                      <a:pt x="137" y="432"/>
                      <a:pt x="143" y="454"/>
                    </a:cubicBezTo>
                    <a:cubicBezTo>
                      <a:pt x="136" y="490"/>
                      <a:pt x="133" y="526"/>
                      <a:pt x="126" y="562"/>
                    </a:cubicBezTo>
                    <a:cubicBezTo>
                      <a:pt x="122" y="583"/>
                      <a:pt x="117" y="604"/>
                      <a:pt x="111" y="625"/>
                    </a:cubicBezTo>
                    <a:cubicBezTo>
                      <a:pt x="108" y="639"/>
                      <a:pt x="101" y="654"/>
                      <a:pt x="99" y="669"/>
                    </a:cubicBezTo>
                    <a:cubicBezTo>
                      <a:pt x="78" y="681"/>
                      <a:pt x="0" y="727"/>
                      <a:pt x="2" y="732"/>
                    </a:cubicBezTo>
                    <a:cubicBezTo>
                      <a:pt x="10" y="747"/>
                      <a:pt x="24" y="753"/>
                      <a:pt x="40" y="756"/>
                    </a:cubicBezTo>
                    <a:cubicBezTo>
                      <a:pt x="64" y="761"/>
                      <a:pt x="90" y="764"/>
                      <a:pt x="114" y="763"/>
                    </a:cubicBezTo>
                    <a:cubicBezTo>
                      <a:pt x="147" y="762"/>
                      <a:pt x="212" y="735"/>
                      <a:pt x="215" y="728"/>
                    </a:cubicBezTo>
                    <a:cubicBezTo>
                      <a:pt x="226" y="693"/>
                      <a:pt x="243" y="655"/>
                      <a:pt x="250" y="618"/>
                    </a:cubicBezTo>
                    <a:cubicBezTo>
                      <a:pt x="252" y="630"/>
                      <a:pt x="262" y="692"/>
                      <a:pt x="262" y="692"/>
                    </a:cubicBezTo>
                    <a:cubicBezTo>
                      <a:pt x="262" y="692"/>
                      <a:pt x="262" y="693"/>
                      <a:pt x="263" y="693"/>
                    </a:cubicBezTo>
                    <a:cubicBezTo>
                      <a:pt x="276" y="695"/>
                      <a:pt x="306" y="694"/>
                      <a:pt x="306" y="694"/>
                    </a:cubicBezTo>
                    <a:cubicBezTo>
                      <a:pt x="306" y="694"/>
                      <a:pt x="311" y="611"/>
                      <a:pt x="311" y="572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8" name="Freeform 56">
                <a:extLst>
                  <a:ext uri="{FF2B5EF4-FFF2-40B4-BE49-F238E27FC236}">
                    <a16:creationId xmlns:a16="http://schemas.microsoft.com/office/drawing/2014/main" id="{AAAB5752-04CE-BB26-2FFE-A546E479E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325" y="5809184"/>
                <a:ext cx="103372" cy="337949"/>
              </a:xfrm>
              <a:custGeom>
                <a:avLst/>
                <a:gdLst>
                  <a:gd name="T0" fmla="*/ 241 w 242"/>
                  <a:gd name="T1" fmla="*/ 31 h 791"/>
                  <a:gd name="T2" fmla="*/ 237 w 242"/>
                  <a:gd name="T3" fmla="*/ 24 h 791"/>
                  <a:gd name="T4" fmla="*/ 231 w 242"/>
                  <a:gd name="T5" fmla="*/ 19 h 791"/>
                  <a:gd name="T6" fmla="*/ 140 w 242"/>
                  <a:gd name="T7" fmla="*/ 20 h 791"/>
                  <a:gd name="T8" fmla="*/ 58 w 242"/>
                  <a:gd name="T9" fmla="*/ 0 h 791"/>
                  <a:gd name="T10" fmla="*/ 53 w 242"/>
                  <a:gd name="T11" fmla="*/ 3 h 791"/>
                  <a:gd name="T12" fmla="*/ 49 w 242"/>
                  <a:gd name="T13" fmla="*/ 8 h 791"/>
                  <a:gd name="T14" fmla="*/ 41 w 242"/>
                  <a:gd name="T15" fmla="*/ 285 h 791"/>
                  <a:gd name="T16" fmla="*/ 36 w 242"/>
                  <a:gd name="T17" fmla="*/ 421 h 791"/>
                  <a:gd name="T18" fmla="*/ 33 w 242"/>
                  <a:gd name="T19" fmla="*/ 519 h 791"/>
                  <a:gd name="T20" fmla="*/ 11 w 242"/>
                  <a:gd name="T21" fmla="*/ 608 h 791"/>
                  <a:gd name="T22" fmla="*/ 5 w 242"/>
                  <a:gd name="T23" fmla="*/ 683 h 791"/>
                  <a:gd name="T24" fmla="*/ 2 w 242"/>
                  <a:gd name="T25" fmla="*/ 722 h 791"/>
                  <a:gd name="T26" fmla="*/ 21 w 242"/>
                  <a:gd name="T27" fmla="*/ 783 h 791"/>
                  <a:gd name="T28" fmla="*/ 127 w 242"/>
                  <a:gd name="T29" fmla="*/ 750 h 791"/>
                  <a:gd name="T30" fmla="*/ 132 w 242"/>
                  <a:gd name="T31" fmla="*/ 657 h 791"/>
                  <a:gd name="T32" fmla="*/ 129 w 242"/>
                  <a:gd name="T33" fmla="*/ 545 h 791"/>
                  <a:gd name="T34" fmla="*/ 180 w 242"/>
                  <a:gd name="T35" fmla="*/ 313 h 791"/>
                  <a:gd name="T36" fmla="*/ 241 w 242"/>
                  <a:gd name="T37" fmla="*/ 3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2" h="791">
                    <a:moveTo>
                      <a:pt x="241" y="31"/>
                    </a:moveTo>
                    <a:cubicBezTo>
                      <a:pt x="242" y="27"/>
                      <a:pt x="239" y="25"/>
                      <a:pt x="237" y="24"/>
                    </a:cubicBezTo>
                    <a:cubicBezTo>
                      <a:pt x="237" y="21"/>
                      <a:pt x="235" y="18"/>
                      <a:pt x="231" y="19"/>
                    </a:cubicBezTo>
                    <a:cubicBezTo>
                      <a:pt x="201" y="23"/>
                      <a:pt x="170" y="24"/>
                      <a:pt x="140" y="20"/>
                    </a:cubicBezTo>
                    <a:cubicBezTo>
                      <a:pt x="112" y="17"/>
                      <a:pt x="85" y="4"/>
                      <a:pt x="58" y="0"/>
                    </a:cubicBezTo>
                    <a:cubicBezTo>
                      <a:pt x="56" y="0"/>
                      <a:pt x="54" y="1"/>
                      <a:pt x="53" y="3"/>
                    </a:cubicBezTo>
                    <a:cubicBezTo>
                      <a:pt x="51" y="4"/>
                      <a:pt x="49" y="6"/>
                      <a:pt x="49" y="8"/>
                    </a:cubicBezTo>
                    <a:cubicBezTo>
                      <a:pt x="44" y="100"/>
                      <a:pt x="43" y="193"/>
                      <a:pt x="41" y="285"/>
                    </a:cubicBezTo>
                    <a:cubicBezTo>
                      <a:pt x="39" y="331"/>
                      <a:pt x="38" y="376"/>
                      <a:pt x="36" y="421"/>
                    </a:cubicBezTo>
                    <a:cubicBezTo>
                      <a:pt x="36" y="454"/>
                      <a:pt x="33" y="487"/>
                      <a:pt x="33" y="519"/>
                    </a:cubicBezTo>
                    <a:cubicBezTo>
                      <a:pt x="11" y="541"/>
                      <a:pt x="13" y="580"/>
                      <a:pt x="11" y="608"/>
                    </a:cubicBezTo>
                    <a:cubicBezTo>
                      <a:pt x="5" y="683"/>
                      <a:pt x="5" y="683"/>
                      <a:pt x="5" y="683"/>
                    </a:cubicBezTo>
                    <a:cubicBezTo>
                      <a:pt x="4" y="696"/>
                      <a:pt x="3" y="709"/>
                      <a:pt x="2" y="722"/>
                    </a:cubicBezTo>
                    <a:cubicBezTo>
                      <a:pt x="0" y="725"/>
                      <a:pt x="11" y="784"/>
                      <a:pt x="21" y="783"/>
                    </a:cubicBezTo>
                    <a:cubicBezTo>
                      <a:pt x="57" y="791"/>
                      <a:pt x="105" y="779"/>
                      <a:pt x="127" y="750"/>
                    </a:cubicBezTo>
                    <a:cubicBezTo>
                      <a:pt x="147" y="724"/>
                      <a:pt x="141" y="689"/>
                      <a:pt x="132" y="657"/>
                    </a:cubicBezTo>
                    <a:cubicBezTo>
                      <a:pt x="144" y="621"/>
                      <a:pt x="143" y="578"/>
                      <a:pt x="129" y="545"/>
                    </a:cubicBezTo>
                    <a:cubicBezTo>
                      <a:pt x="149" y="469"/>
                      <a:pt x="163" y="390"/>
                      <a:pt x="180" y="313"/>
                    </a:cubicBezTo>
                    <a:cubicBezTo>
                      <a:pt x="200" y="220"/>
                      <a:pt x="226" y="125"/>
                      <a:pt x="241" y="31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9" name="Freeform 57">
                <a:extLst>
                  <a:ext uri="{FF2B5EF4-FFF2-40B4-BE49-F238E27FC236}">
                    <a16:creationId xmlns:a16="http://schemas.microsoft.com/office/drawing/2014/main" id="{CE75CC9F-A7D9-183D-3208-E0014C92A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314" y="5194732"/>
                <a:ext cx="64156" cy="41747"/>
              </a:xfrm>
              <a:custGeom>
                <a:avLst/>
                <a:gdLst>
                  <a:gd name="T0" fmla="*/ 149 w 150"/>
                  <a:gd name="T1" fmla="*/ 8 h 98"/>
                  <a:gd name="T2" fmla="*/ 53 w 150"/>
                  <a:gd name="T3" fmla="*/ 0 h 98"/>
                  <a:gd name="T4" fmla="*/ 4 w 150"/>
                  <a:gd name="T5" fmla="*/ 13 h 98"/>
                  <a:gd name="T6" fmla="*/ 0 w 150"/>
                  <a:gd name="T7" fmla="*/ 54 h 98"/>
                  <a:gd name="T8" fmla="*/ 118 w 150"/>
                  <a:gd name="T9" fmla="*/ 98 h 98"/>
                  <a:gd name="T10" fmla="*/ 143 w 150"/>
                  <a:gd name="T11" fmla="*/ 56 h 98"/>
                  <a:gd name="T12" fmla="*/ 149 w 150"/>
                  <a:gd name="T13" fmla="*/ 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98">
                    <a:moveTo>
                      <a:pt x="149" y="8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8" y="98"/>
                      <a:pt x="118" y="98"/>
                      <a:pt x="118" y="98"/>
                    </a:cubicBezTo>
                    <a:cubicBezTo>
                      <a:pt x="125" y="90"/>
                      <a:pt x="136" y="76"/>
                      <a:pt x="143" y="56"/>
                    </a:cubicBezTo>
                    <a:cubicBezTo>
                      <a:pt x="150" y="36"/>
                      <a:pt x="150" y="18"/>
                      <a:pt x="149" y="8"/>
                    </a:cubicBezTo>
                    <a:close/>
                  </a:path>
                </a:pathLst>
              </a:custGeom>
              <a:solidFill>
                <a:srgbClr val="EBC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0" name="Freeform 58">
                <a:extLst>
                  <a:ext uri="{FF2B5EF4-FFF2-40B4-BE49-F238E27FC236}">
                    <a16:creationId xmlns:a16="http://schemas.microsoft.com/office/drawing/2014/main" id="{FDF994B8-813A-82A1-8255-7C4F3044C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421" y="5255273"/>
                <a:ext cx="87108" cy="40301"/>
              </a:xfrm>
              <a:custGeom>
                <a:avLst/>
                <a:gdLst>
                  <a:gd name="T0" fmla="*/ 8 w 204"/>
                  <a:gd name="T1" fmla="*/ 94 h 94"/>
                  <a:gd name="T2" fmla="*/ 115 w 204"/>
                  <a:gd name="T3" fmla="*/ 74 h 94"/>
                  <a:gd name="T4" fmla="*/ 204 w 204"/>
                  <a:gd name="T5" fmla="*/ 28 h 94"/>
                  <a:gd name="T6" fmla="*/ 18 w 204"/>
                  <a:gd name="T7" fmla="*/ 0 h 94"/>
                  <a:gd name="T8" fmla="*/ 8 w 204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4" h="94">
                    <a:moveTo>
                      <a:pt x="8" y="94"/>
                    </a:moveTo>
                    <a:cubicBezTo>
                      <a:pt x="8" y="94"/>
                      <a:pt x="54" y="93"/>
                      <a:pt x="115" y="74"/>
                    </a:cubicBezTo>
                    <a:cubicBezTo>
                      <a:pt x="177" y="56"/>
                      <a:pt x="204" y="28"/>
                      <a:pt x="204" y="28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0" y="44"/>
                      <a:pt x="8" y="94"/>
                    </a:cubicBezTo>
                    <a:close/>
                  </a:path>
                </a:pathLst>
              </a:custGeom>
              <a:solidFill>
                <a:srgbClr val="EBC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1" name="Freeform 59">
                <a:extLst>
                  <a:ext uri="{FF2B5EF4-FFF2-40B4-BE49-F238E27FC236}">
                    <a16:creationId xmlns:a16="http://schemas.microsoft.com/office/drawing/2014/main" id="{8DD1E98E-DDD2-E3DC-C4C4-A271E3B7C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374" y="5052866"/>
                <a:ext cx="238371" cy="233672"/>
              </a:xfrm>
              <a:custGeom>
                <a:avLst/>
                <a:gdLst>
                  <a:gd name="T0" fmla="*/ 554 w 558"/>
                  <a:gd name="T1" fmla="*/ 224 h 547"/>
                  <a:gd name="T2" fmla="*/ 542 w 558"/>
                  <a:gd name="T3" fmla="*/ 105 h 547"/>
                  <a:gd name="T4" fmla="*/ 529 w 558"/>
                  <a:gd name="T5" fmla="*/ 33 h 547"/>
                  <a:gd name="T6" fmla="*/ 440 w 558"/>
                  <a:gd name="T7" fmla="*/ 32 h 547"/>
                  <a:gd name="T8" fmla="*/ 409 w 558"/>
                  <a:gd name="T9" fmla="*/ 103 h 547"/>
                  <a:gd name="T10" fmla="*/ 403 w 558"/>
                  <a:gd name="T11" fmla="*/ 268 h 547"/>
                  <a:gd name="T12" fmla="*/ 412 w 558"/>
                  <a:gd name="T13" fmla="*/ 344 h 547"/>
                  <a:gd name="T14" fmla="*/ 226 w 558"/>
                  <a:gd name="T15" fmla="*/ 350 h 547"/>
                  <a:gd name="T16" fmla="*/ 130 w 558"/>
                  <a:gd name="T17" fmla="*/ 344 h 547"/>
                  <a:gd name="T18" fmla="*/ 33 w 558"/>
                  <a:gd name="T19" fmla="*/ 337 h 547"/>
                  <a:gd name="T20" fmla="*/ 3 w 558"/>
                  <a:gd name="T21" fmla="*/ 427 h 547"/>
                  <a:gd name="T22" fmla="*/ 1 w 558"/>
                  <a:gd name="T23" fmla="*/ 430 h 547"/>
                  <a:gd name="T24" fmla="*/ 6 w 558"/>
                  <a:gd name="T25" fmla="*/ 438 h 547"/>
                  <a:gd name="T26" fmla="*/ 47 w 558"/>
                  <a:gd name="T27" fmla="*/ 458 h 547"/>
                  <a:gd name="T28" fmla="*/ 185 w 558"/>
                  <a:gd name="T29" fmla="*/ 499 h 547"/>
                  <a:gd name="T30" fmla="*/ 188 w 558"/>
                  <a:gd name="T31" fmla="*/ 499 h 547"/>
                  <a:gd name="T32" fmla="*/ 432 w 558"/>
                  <a:gd name="T33" fmla="*/ 540 h 547"/>
                  <a:gd name="T34" fmla="*/ 437 w 558"/>
                  <a:gd name="T35" fmla="*/ 539 h 547"/>
                  <a:gd name="T36" fmla="*/ 554 w 558"/>
                  <a:gd name="T37" fmla="*/ 224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8" h="547">
                    <a:moveTo>
                      <a:pt x="554" y="224"/>
                    </a:moveTo>
                    <a:cubicBezTo>
                      <a:pt x="553" y="184"/>
                      <a:pt x="549" y="144"/>
                      <a:pt x="542" y="105"/>
                    </a:cubicBezTo>
                    <a:cubicBezTo>
                      <a:pt x="538" y="80"/>
                      <a:pt x="543" y="54"/>
                      <a:pt x="529" y="33"/>
                    </a:cubicBezTo>
                    <a:cubicBezTo>
                      <a:pt x="520" y="0"/>
                      <a:pt x="460" y="7"/>
                      <a:pt x="440" y="32"/>
                    </a:cubicBezTo>
                    <a:cubicBezTo>
                      <a:pt x="423" y="52"/>
                      <a:pt x="416" y="79"/>
                      <a:pt x="409" y="103"/>
                    </a:cubicBezTo>
                    <a:cubicBezTo>
                      <a:pt x="401" y="133"/>
                      <a:pt x="401" y="244"/>
                      <a:pt x="403" y="268"/>
                    </a:cubicBezTo>
                    <a:cubicBezTo>
                      <a:pt x="404" y="291"/>
                      <a:pt x="404" y="320"/>
                      <a:pt x="412" y="344"/>
                    </a:cubicBezTo>
                    <a:cubicBezTo>
                      <a:pt x="350" y="349"/>
                      <a:pt x="288" y="351"/>
                      <a:pt x="226" y="350"/>
                    </a:cubicBezTo>
                    <a:cubicBezTo>
                      <a:pt x="194" y="349"/>
                      <a:pt x="162" y="347"/>
                      <a:pt x="130" y="344"/>
                    </a:cubicBezTo>
                    <a:cubicBezTo>
                      <a:pt x="104" y="342"/>
                      <a:pt x="33" y="337"/>
                      <a:pt x="33" y="337"/>
                    </a:cubicBezTo>
                    <a:cubicBezTo>
                      <a:pt x="33" y="337"/>
                      <a:pt x="20" y="400"/>
                      <a:pt x="3" y="427"/>
                    </a:cubicBezTo>
                    <a:cubicBezTo>
                      <a:pt x="2" y="428"/>
                      <a:pt x="1" y="429"/>
                      <a:pt x="1" y="430"/>
                    </a:cubicBezTo>
                    <a:cubicBezTo>
                      <a:pt x="0" y="433"/>
                      <a:pt x="3" y="437"/>
                      <a:pt x="6" y="438"/>
                    </a:cubicBezTo>
                    <a:cubicBezTo>
                      <a:pt x="17" y="447"/>
                      <a:pt x="45" y="457"/>
                      <a:pt x="47" y="458"/>
                    </a:cubicBezTo>
                    <a:cubicBezTo>
                      <a:pt x="92" y="475"/>
                      <a:pt x="138" y="488"/>
                      <a:pt x="185" y="499"/>
                    </a:cubicBezTo>
                    <a:cubicBezTo>
                      <a:pt x="186" y="499"/>
                      <a:pt x="187" y="499"/>
                      <a:pt x="188" y="499"/>
                    </a:cubicBezTo>
                    <a:cubicBezTo>
                      <a:pt x="268" y="516"/>
                      <a:pt x="351" y="528"/>
                      <a:pt x="432" y="540"/>
                    </a:cubicBezTo>
                    <a:cubicBezTo>
                      <a:pt x="434" y="540"/>
                      <a:pt x="436" y="540"/>
                      <a:pt x="437" y="539"/>
                    </a:cubicBezTo>
                    <a:cubicBezTo>
                      <a:pt x="538" y="547"/>
                      <a:pt x="558" y="304"/>
                      <a:pt x="554" y="224"/>
                    </a:cubicBezTo>
                    <a:close/>
                  </a:path>
                </a:pathLst>
              </a:custGeom>
              <a:solidFill>
                <a:srgbClr val="BD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2" name="Freeform 60">
                <a:extLst>
                  <a:ext uri="{FF2B5EF4-FFF2-40B4-BE49-F238E27FC236}">
                    <a16:creationId xmlns:a16="http://schemas.microsoft.com/office/drawing/2014/main" id="{634DB9EF-ED72-55F5-1B55-E377C502D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423" y="4783591"/>
                <a:ext cx="219938" cy="295660"/>
              </a:xfrm>
              <a:custGeom>
                <a:avLst/>
                <a:gdLst>
                  <a:gd name="T0" fmla="*/ 189 w 515"/>
                  <a:gd name="T1" fmla="*/ 408 h 692"/>
                  <a:gd name="T2" fmla="*/ 196 w 515"/>
                  <a:gd name="T3" fmla="*/ 546 h 692"/>
                  <a:gd name="T4" fmla="*/ 158 w 515"/>
                  <a:gd name="T5" fmla="*/ 625 h 692"/>
                  <a:gd name="T6" fmla="*/ 133 w 515"/>
                  <a:gd name="T7" fmla="*/ 589 h 692"/>
                  <a:gd name="T8" fmla="*/ 84 w 515"/>
                  <a:gd name="T9" fmla="*/ 653 h 692"/>
                  <a:gd name="T10" fmla="*/ 0 w 515"/>
                  <a:gd name="T11" fmla="*/ 664 h 692"/>
                  <a:gd name="T12" fmla="*/ 45 w 515"/>
                  <a:gd name="T13" fmla="*/ 569 h 692"/>
                  <a:gd name="T14" fmla="*/ 60 w 515"/>
                  <a:gd name="T15" fmla="*/ 248 h 692"/>
                  <a:gd name="T16" fmla="*/ 149 w 515"/>
                  <a:gd name="T17" fmla="*/ 46 h 692"/>
                  <a:gd name="T18" fmla="*/ 269 w 515"/>
                  <a:gd name="T19" fmla="*/ 29 h 692"/>
                  <a:gd name="T20" fmla="*/ 335 w 515"/>
                  <a:gd name="T21" fmla="*/ 38 h 692"/>
                  <a:gd name="T22" fmla="*/ 429 w 515"/>
                  <a:gd name="T23" fmla="*/ 175 h 692"/>
                  <a:gd name="T24" fmla="*/ 450 w 515"/>
                  <a:gd name="T25" fmla="*/ 303 h 692"/>
                  <a:gd name="T26" fmla="*/ 475 w 515"/>
                  <a:gd name="T27" fmla="*/ 461 h 692"/>
                  <a:gd name="T28" fmla="*/ 515 w 515"/>
                  <a:gd name="T29" fmla="*/ 602 h 692"/>
                  <a:gd name="T30" fmla="*/ 442 w 515"/>
                  <a:gd name="T31" fmla="*/ 623 h 692"/>
                  <a:gd name="T32" fmla="*/ 335 w 515"/>
                  <a:gd name="T33" fmla="*/ 691 h 692"/>
                  <a:gd name="T34" fmla="*/ 364 w 515"/>
                  <a:gd name="T35" fmla="*/ 649 h 692"/>
                  <a:gd name="T36" fmla="*/ 397 w 515"/>
                  <a:gd name="T37" fmla="*/ 583 h 692"/>
                  <a:gd name="T38" fmla="*/ 351 w 515"/>
                  <a:gd name="T39" fmla="*/ 616 h 692"/>
                  <a:gd name="T40" fmla="*/ 310 w 515"/>
                  <a:gd name="T41" fmla="*/ 623 h 692"/>
                  <a:gd name="T42" fmla="*/ 348 w 515"/>
                  <a:gd name="T43" fmla="*/ 541 h 692"/>
                  <a:gd name="T44" fmla="*/ 327 w 515"/>
                  <a:gd name="T45" fmla="*/ 355 h 692"/>
                  <a:gd name="T46" fmla="*/ 189 w 515"/>
                  <a:gd name="T47" fmla="*/ 408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5" h="692">
                    <a:moveTo>
                      <a:pt x="189" y="408"/>
                    </a:moveTo>
                    <a:cubicBezTo>
                      <a:pt x="189" y="408"/>
                      <a:pt x="213" y="475"/>
                      <a:pt x="196" y="546"/>
                    </a:cubicBezTo>
                    <a:cubicBezTo>
                      <a:pt x="186" y="590"/>
                      <a:pt x="158" y="625"/>
                      <a:pt x="158" y="625"/>
                    </a:cubicBezTo>
                    <a:cubicBezTo>
                      <a:pt x="133" y="589"/>
                      <a:pt x="133" y="589"/>
                      <a:pt x="133" y="589"/>
                    </a:cubicBezTo>
                    <a:cubicBezTo>
                      <a:pt x="133" y="589"/>
                      <a:pt x="119" y="634"/>
                      <a:pt x="84" y="653"/>
                    </a:cubicBezTo>
                    <a:cubicBezTo>
                      <a:pt x="49" y="671"/>
                      <a:pt x="0" y="664"/>
                      <a:pt x="0" y="664"/>
                    </a:cubicBezTo>
                    <a:cubicBezTo>
                      <a:pt x="0" y="664"/>
                      <a:pt x="30" y="647"/>
                      <a:pt x="45" y="569"/>
                    </a:cubicBezTo>
                    <a:cubicBezTo>
                      <a:pt x="59" y="491"/>
                      <a:pt x="41" y="376"/>
                      <a:pt x="60" y="248"/>
                    </a:cubicBezTo>
                    <a:cubicBezTo>
                      <a:pt x="78" y="119"/>
                      <a:pt x="90" y="91"/>
                      <a:pt x="149" y="46"/>
                    </a:cubicBezTo>
                    <a:cubicBezTo>
                      <a:pt x="208" y="0"/>
                      <a:pt x="269" y="29"/>
                      <a:pt x="269" y="29"/>
                    </a:cubicBezTo>
                    <a:cubicBezTo>
                      <a:pt x="269" y="29"/>
                      <a:pt x="302" y="22"/>
                      <a:pt x="335" y="38"/>
                    </a:cubicBezTo>
                    <a:cubicBezTo>
                      <a:pt x="368" y="54"/>
                      <a:pt x="410" y="99"/>
                      <a:pt x="429" y="175"/>
                    </a:cubicBezTo>
                    <a:cubicBezTo>
                      <a:pt x="448" y="252"/>
                      <a:pt x="450" y="303"/>
                      <a:pt x="450" y="303"/>
                    </a:cubicBezTo>
                    <a:cubicBezTo>
                      <a:pt x="450" y="303"/>
                      <a:pt x="483" y="381"/>
                      <a:pt x="475" y="461"/>
                    </a:cubicBezTo>
                    <a:cubicBezTo>
                      <a:pt x="467" y="541"/>
                      <a:pt x="515" y="602"/>
                      <a:pt x="515" y="602"/>
                    </a:cubicBezTo>
                    <a:cubicBezTo>
                      <a:pt x="515" y="602"/>
                      <a:pt x="471" y="593"/>
                      <a:pt x="442" y="623"/>
                    </a:cubicBezTo>
                    <a:cubicBezTo>
                      <a:pt x="412" y="653"/>
                      <a:pt x="335" y="691"/>
                      <a:pt x="335" y="691"/>
                    </a:cubicBezTo>
                    <a:cubicBezTo>
                      <a:pt x="335" y="691"/>
                      <a:pt x="342" y="692"/>
                      <a:pt x="364" y="649"/>
                    </a:cubicBezTo>
                    <a:cubicBezTo>
                      <a:pt x="385" y="605"/>
                      <a:pt x="397" y="583"/>
                      <a:pt x="397" y="583"/>
                    </a:cubicBezTo>
                    <a:cubicBezTo>
                      <a:pt x="397" y="583"/>
                      <a:pt x="377" y="609"/>
                      <a:pt x="351" y="616"/>
                    </a:cubicBezTo>
                    <a:cubicBezTo>
                      <a:pt x="325" y="624"/>
                      <a:pt x="310" y="623"/>
                      <a:pt x="310" y="623"/>
                    </a:cubicBezTo>
                    <a:cubicBezTo>
                      <a:pt x="310" y="623"/>
                      <a:pt x="341" y="578"/>
                      <a:pt x="348" y="541"/>
                    </a:cubicBezTo>
                    <a:cubicBezTo>
                      <a:pt x="362" y="457"/>
                      <a:pt x="351" y="380"/>
                      <a:pt x="327" y="355"/>
                    </a:cubicBezTo>
                    <a:cubicBezTo>
                      <a:pt x="294" y="323"/>
                      <a:pt x="254" y="381"/>
                      <a:pt x="189" y="408"/>
                    </a:cubicBezTo>
                    <a:close/>
                  </a:path>
                </a:pathLst>
              </a:custGeom>
              <a:solidFill>
                <a:srgbClr val="544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3" name="Freeform 61">
                <a:extLst>
                  <a:ext uri="{FF2B5EF4-FFF2-40B4-BE49-F238E27FC236}">
                    <a16:creationId xmlns:a16="http://schemas.microsoft.com/office/drawing/2014/main" id="{C7853228-B5CA-28F9-F669-A815325D1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8036" y="4815759"/>
                <a:ext cx="109336" cy="164818"/>
              </a:xfrm>
              <a:custGeom>
                <a:avLst/>
                <a:gdLst>
                  <a:gd name="T0" fmla="*/ 249 w 256"/>
                  <a:gd name="T1" fmla="*/ 286 h 386"/>
                  <a:gd name="T2" fmla="*/ 254 w 256"/>
                  <a:gd name="T3" fmla="*/ 238 h 386"/>
                  <a:gd name="T4" fmla="*/ 246 w 256"/>
                  <a:gd name="T5" fmla="*/ 142 h 386"/>
                  <a:gd name="T6" fmla="*/ 242 w 256"/>
                  <a:gd name="T7" fmla="*/ 140 h 386"/>
                  <a:gd name="T8" fmla="*/ 170 w 256"/>
                  <a:gd name="T9" fmla="*/ 10 h 386"/>
                  <a:gd name="T10" fmla="*/ 161 w 256"/>
                  <a:gd name="T11" fmla="*/ 7 h 386"/>
                  <a:gd name="T12" fmla="*/ 161 w 256"/>
                  <a:gd name="T13" fmla="*/ 7 h 386"/>
                  <a:gd name="T14" fmla="*/ 156 w 256"/>
                  <a:gd name="T15" fmla="*/ 6 h 386"/>
                  <a:gd name="T16" fmla="*/ 157 w 256"/>
                  <a:gd name="T17" fmla="*/ 5 h 386"/>
                  <a:gd name="T18" fmla="*/ 154 w 256"/>
                  <a:gd name="T19" fmla="*/ 0 h 386"/>
                  <a:gd name="T20" fmla="*/ 129 w 256"/>
                  <a:gd name="T21" fmla="*/ 10 h 386"/>
                  <a:gd name="T22" fmla="*/ 115 w 256"/>
                  <a:gd name="T23" fmla="*/ 17 h 386"/>
                  <a:gd name="T24" fmla="*/ 30 w 256"/>
                  <a:gd name="T25" fmla="*/ 98 h 386"/>
                  <a:gd name="T26" fmla="*/ 11 w 256"/>
                  <a:gd name="T27" fmla="*/ 154 h 386"/>
                  <a:gd name="T28" fmla="*/ 7 w 256"/>
                  <a:gd name="T29" fmla="*/ 199 h 386"/>
                  <a:gd name="T30" fmla="*/ 17 w 256"/>
                  <a:gd name="T31" fmla="*/ 277 h 386"/>
                  <a:gd name="T32" fmla="*/ 91 w 256"/>
                  <a:gd name="T33" fmla="*/ 376 h 386"/>
                  <a:gd name="T34" fmla="*/ 94 w 256"/>
                  <a:gd name="T35" fmla="*/ 376 h 386"/>
                  <a:gd name="T36" fmla="*/ 126 w 256"/>
                  <a:gd name="T37" fmla="*/ 386 h 386"/>
                  <a:gd name="T38" fmla="*/ 178 w 256"/>
                  <a:gd name="T39" fmla="*/ 364 h 386"/>
                  <a:gd name="T40" fmla="*/ 249 w 256"/>
                  <a:gd name="T41" fmla="*/ 2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6" h="386">
                    <a:moveTo>
                      <a:pt x="249" y="286"/>
                    </a:moveTo>
                    <a:cubicBezTo>
                      <a:pt x="256" y="271"/>
                      <a:pt x="255" y="256"/>
                      <a:pt x="254" y="238"/>
                    </a:cubicBezTo>
                    <a:cubicBezTo>
                      <a:pt x="253" y="208"/>
                      <a:pt x="256" y="171"/>
                      <a:pt x="246" y="142"/>
                    </a:cubicBezTo>
                    <a:cubicBezTo>
                      <a:pt x="245" y="141"/>
                      <a:pt x="244" y="140"/>
                      <a:pt x="242" y="140"/>
                    </a:cubicBezTo>
                    <a:cubicBezTo>
                      <a:pt x="227" y="93"/>
                      <a:pt x="187" y="56"/>
                      <a:pt x="170" y="10"/>
                    </a:cubicBezTo>
                    <a:cubicBezTo>
                      <a:pt x="168" y="5"/>
                      <a:pt x="164" y="5"/>
                      <a:pt x="161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59" y="6"/>
                      <a:pt x="158" y="6"/>
                      <a:pt x="156" y="6"/>
                    </a:cubicBezTo>
                    <a:cubicBezTo>
                      <a:pt x="156" y="6"/>
                      <a:pt x="156" y="5"/>
                      <a:pt x="157" y="5"/>
                    </a:cubicBezTo>
                    <a:cubicBezTo>
                      <a:pt x="160" y="4"/>
                      <a:pt x="157" y="0"/>
                      <a:pt x="154" y="0"/>
                    </a:cubicBezTo>
                    <a:cubicBezTo>
                      <a:pt x="146" y="3"/>
                      <a:pt x="137" y="6"/>
                      <a:pt x="129" y="10"/>
                    </a:cubicBezTo>
                    <a:cubicBezTo>
                      <a:pt x="124" y="12"/>
                      <a:pt x="120" y="14"/>
                      <a:pt x="115" y="17"/>
                    </a:cubicBezTo>
                    <a:cubicBezTo>
                      <a:pt x="80" y="35"/>
                      <a:pt x="51" y="64"/>
                      <a:pt x="30" y="98"/>
                    </a:cubicBezTo>
                    <a:cubicBezTo>
                      <a:pt x="21" y="114"/>
                      <a:pt x="14" y="134"/>
                      <a:pt x="11" y="154"/>
                    </a:cubicBezTo>
                    <a:cubicBezTo>
                      <a:pt x="5" y="168"/>
                      <a:pt x="1" y="185"/>
                      <a:pt x="7" y="199"/>
                    </a:cubicBezTo>
                    <a:cubicBezTo>
                      <a:pt x="0" y="223"/>
                      <a:pt x="5" y="254"/>
                      <a:pt x="17" y="277"/>
                    </a:cubicBezTo>
                    <a:cubicBezTo>
                      <a:pt x="28" y="317"/>
                      <a:pt x="55" y="361"/>
                      <a:pt x="91" y="376"/>
                    </a:cubicBezTo>
                    <a:cubicBezTo>
                      <a:pt x="92" y="376"/>
                      <a:pt x="93" y="376"/>
                      <a:pt x="94" y="376"/>
                    </a:cubicBezTo>
                    <a:cubicBezTo>
                      <a:pt x="103" y="382"/>
                      <a:pt x="113" y="385"/>
                      <a:pt x="126" y="386"/>
                    </a:cubicBezTo>
                    <a:cubicBezTo>
                      <a:pt x="145" y="386"/>
                      <a:pt x="166" y="380"/>
                      <a:pt x="178" y="364"/>
                    </a:cubicBezTo>
                    <a:cubicBezTo>
                      <a:pt x="213" y="359"/>
                      <a:pt x="248" y="321"/>
                      <a:pt x="249" y="286"/>
                    </a:cubicBezTo>
                    <a:close/>
                  </a:path>
                </a:pathLst>
              </a:custGeom>
              <a:solidFill>
                <a:srgbClr val="EFD5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defTabSz="371475"/>
                <a:endParaRPr lang="en-US" sz="1463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2329" name="Freeform 62">
              <a:extLst>
                <a:ext uri="{FF2B5EF4-FFF2-40B4-BE49-F238E27FC236}">
                  <a16:creationId xmlns:a16="http://schemas.microsoft.com/office/drawing/2014/main" id="{0BB8E309-58C4-289B-A1BC-5E38AA5D1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9413" y="4746905"/>
              <a:ext cx="164095" cy="262769"/>
            </a:xfrm>
            <a:custGeom>
              <a:avLst/>
              <a:gdLst>
                <a:gd name="T0" fmla="*/ 358 w 384"/>
                <a:gd name="T1" fmla="*/ 247 h 615"/>
                <a:gd name="T2" fmla="*/ 366 w 384"/>
                <a:gd name="T3" fmla="*/ 197 h 615"/>
                <a:gd name="T4" fmla="*/ 303 w 384"/>
                <a:gd name="T5" fmla="*/ 46 h 615"/>
                <a:gd name="T6" fmla="*/ 135 w 384"/>
                <a:gd name="T7" fmla="*/ 16 h 615"/>
                <a:gd name="T8" fmla="*/ 40 w 384"/>
                <a:gd name="T9" fmla="*/ 210 h 615"/>
                <a:gd name="T10" fmla="*/ 6 w 384"/>
                <a:gd name="T11" fmla="*/ 225 h 615"/>
                <a:gd name="T12" fmla="*/ 8 w 384"/>
                <a:gd name="T13" fmla="*/ 275 h 615"/>
                <a:gd name="T14" fmla="*/ 26 w 384"/>
                <a:gd name="T15" fmla="*/ 335 h 615"/>
                <a:gd name="T16" fmla="*/ 26 w 384"/>
                <a:gd name="T17" fmla="*/ 335 h 615"/>
                <a:gd name="T18" fmla="*/ 29 w 384"/>
                <a:gd name="T19" fmla="*/ 341 h 615"/>
                <a:gd name="T20" fmla="*/ 45 w 384"/>
                <a:gd name="T21" fmla="*/ 345 h 615"/>
                <a:gd name="T22" fmla="*/ 55 w 384"/>
                <a:gd name="T23" fmla="*/ 396 h 615"/>
                <a:gd name="T24" fmla="*/ 55 w 384"/>
                <a:gd name="T25" fmla="*/ 458 h 615"/>
                <a:gd name="T26" fmla="*/ 55 w 384"/>
                <a:gd name="T27" fmla="*/ 463 h 615"/>
                <a:gd name="T28" fmla="*/ 155 w 384"/>
                <a:gd name="T29" fmla="*/ 528 h 615"/>
                <a:gd name="T30" fmla="*/ 244 w 384"/>
                <a:gd name="T31" fmla="*/ 609 h 615"/>
                <a:gd name="T32" fmla="*/ 253 w 384"/>
                <a:gd name="T33" fmla="*/ 600 h 615"/>
                <a:gd name="T34" fmla="*/ 262 w 384"/>
                <a:gd name="T35" fmla="*/ 536 h 615"/>
                <a:gd name="T36" fmla="*/ 274 w 384"/>
                <a:gd name="T37" fmla="*/ 481 h 615"/>
                <a:gd name="T38" fmla="*/ 350 w 384"/>
                <a:gd name="T39" fmla="*/ 366 h 615"/>
                <a:gd name="T40" fmla="*/ 352 w 384"/>
                <a:gd name="T41" fmla="*/ 364 h 615"/>
                <a:gd name="T42" fmla="*/ 356 w 384"/>
                <a:gd name="T43" fmla="*/ 251 h 615"/>
                <a:gd name="T44" fmla="*/ 358 w 384"/>
                <a:gd name="T45" fmla="*/ 247 h 615"/>
                <a:gd name="T46" fmla="*/ 273 w 384"/>
                <a:gd name="T47" fmla="*/ 466 h 615"/>
                <a:gd name="T48" fmla="*/ 273 w 384"/>
                <a:gd name="T49" fmla="*/ 466 h 615"/>
                <a:gd name="T50" fmla="*/ 274 w 384"/>
                <a:gd name="T51" fmla="*/ 466 h 615"/>
                <a:gd name="T52" fmla="*/ 273 w 384"/>
                <a:gd name="T53" fmla="*/ 466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615">
                  <a:moveTo>
                    <a:pt x="358" y="247"/>
                  </a:moveTo>
                  <a:cubicBezTo>
                    <a:pt x="363" y="231"/>
                    <a:pt x="365" y="214"/>
                    <a:pt x="366" y="197"/>
                  </a:cubicBezTo>
                  <a:cubicBezTo>
                    <a:pt x="384" y="137"/>
                    <a:pt x="356" y="73"/>
                    <a:pt x="303" y="46"/>
                  </a:cubicBezTo>
                  <a:cubicBezTo>
                    <a:pt x="256" y="12"/>
                    <a:pt x="190" y="0"/>
                    <a:pt x="135" y="16"/>
                  </a:cubicBezTo>
                  <a:cubicBezTo>
                    <a:pt x="52" y="21"/>
                    <a:pt x="32" y="145"/>
                    <a:pt x="40" y="210"/>
                  </a:cubicBezTo>
                  <a:cubicBezTo>
                    <a:pt x="29" y="203"/>
                    <a:pt x="12" y="211"/>
                    <a:pt x="6" y="225"/>
                  </a:cubicBezTo>
                  <a:cubicBezTo>
                    <a:pt x="0" y="240"/>
                    <a:pt x="5" y="259"/>
                    <a:pt x="8" y="275"/>
                  </a:cubicBezTo>
                  <a:cubicBezTo>
                    <a:pt x="12" y="295"/>
                    <a:pt x="15" y="317"/>
                    <a:pt x="26" y="335"/>
                  </a:cubicBezTo>
                  <a:cubicBezTo>
                    <a:pt x="26" y="335"/>
                    <a:pt x="26" y="335"/>
                    <a:pt x="26" y="335"/>
                  </a:cubicBezTo>
                  <a:cubicBezTo>
                    <a:pt x="26" y="338"/>
                    <a:pt x="27" y="340"/>
                    <a:pt x="29" y="341"/>
                  </a:cubicBezTo>
                  <a:cubicBezTo>
                    <a:pt x="34" y="346"/>
                    <a:pt x="39" y="346"/>
                    <a:pt x="45" y="345"/>
                  </a:cubicBezTo>
                  <a:cubicBezTo>
                    <a:pt x="47" y="362"/>
                    <a:pt x="53" y="379"/>
                    <a:pt x="55" y="396"/>
                  </a:cubicBezTo>
                  <a:cubicBezTo>
                    <a:pt x="57" y="417"/>
                    <a:pt x="56" y="437"/>
                    <a:pt x="55" y="458"/>
                  </a:cubicBezTo>
                  <a:cubicBezTo>
                    <a:pt x="54" y="459"/>
                    <a:pt x="53" y="461"/>
                    <a:pt x="55" y="463"/>
                  </a:cubicBezTo>
                  <a:cubicBezTo>
                    <a:pt x="87" y="487"/>
                    <a:pt x="123" y="504"/>
                    <a:pt x="155" y="528"/>
                  </a:cubicBezTo>
                  <a:cubicBezTo>
                    <a:pt x="187" y="553"/>
                    <a:pt x="217" y="580"/>
                    <a:pt x="244" y="609"/>
                  </a:cubicBezTo>
                  <a:cubicBezTo>
                    <a:pt x="250" y="615"/>
                    <a:pt x="258" y="606"/>
                    <a:pt x="253" y="600"/>
                  </a:cubicBezTo>
                  <a:cubicBezTo>
                    <a:pt x="259" y="580"/>
                    <a:pt x="258" y="557"/>
                    <a:pt x="262" y="536"/>
                  </a:cubicBezTo>
                  <a:cubicBezTo>
                    <a:pt x="265" y="518"/>
                    <a:pt x="270" y="500"/>
                    <a:pt x="274" y="481"/>
                  </a:cubicBezTo>
                  <a:cubicBezTo>
                    <a:pt x="312" y="455"/>
                    <a:pt x="340" y="412"/>
                    <a:pt x="350" y="366"/>
                  </a:cubicBezTo>
                  <a:cubicBezTo>
                    <a:pt x="350" y="366"/>
                    <a:pt x="351" y="365"/>
                    <a:pt x="352" y="364"/>
                  </a:cubicBezTo>
                  <a:cubicBezTo>
                    <a:pt x="362" y="328"/>
                    <a:pt x="367" y="287"/>
                    <a:pt x="356" y="251"/>
                  </a:cubicBezTo>
                  <a:cubicBezTo>
                    <a:pt x="357" y="250"/>
                    <a:pt x="358" y="249"/>
                    <a:pt x="358" y="247"/>
                  </a:cubicBezTo>
                  <a:close/>
                  <a:moveTo>
                    <a:pt x="273" y="466"/>
                  </a:moveTo>
                  <a:cubicBezTo>
                    <a:pt x="273" y="466"/>
                    <a:pt x="273" y="466"/>
                    <a:pt x="273" y="466"/>
                  </a:cubicBezTo>
                  <a:cubicBezTo>
                    <a:pt x="273" y="466"/>
                    <a:pt x="273" y="466"/>
                    <a:pt x="274" y="466"/>
                  </a:cubicBezTo>
                  <a:cubicBezTo>
                    <a:pt x="274" y="466"/>
                    <a:pt x="273" y="466"/>
                    <a:pt x="273" y="466"/>
                  </a:cubicBezTo>
                  <a:close/>
                </a:path>
              </a:pathLst>
            </a:custGeom>
            <a:solidFill>
              <a:srgbClr val="EFD5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0" name="Freeform 63">
              <a:extLst>
                <a:ext uri="{FF2B5EF4-FFF2-40B4-BE49-F238E27FC236}">
                  <a16:creationId xmlns:a16="http://schemas.microsoft.com/office/drawing/2014/main" id="{06C00DBE-9D97-A39E-8D57-CB0BC6B20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1882" y="5010035"/>
              <a:ext cx="106264" cy="534573"/>
            </a:xfrm>
            <a:custGeom>
              <a:avLst/>
              <a:gdLst>
                <a:gd name="T0" fmla="*/ 205 w 249"/>
                <a:gd name="T1" fmla="*/ 194 h 1251"/>
                <a:gd name="T2" fmla="*/ 208 w 249"/>
                <a:gd name="T3" fmla="*/ 199 h 1251"/>
                <a:gd name="T4" fmla="*/ 211 w 249"/>
                <a:gd name="T5" fmla="*/ 198 h 1251"/>
                <a:gd name="T6" fmla="*/ 124 w 249"/>
                <a:gd name="T7" fmla="*/ 70 h 1251"/>
                <a:gd name="T8" fmla="*/ 59 w 249"/>
                <a:gd name="T9" fmla="*/ 24 h 1251"/>
                <a:gd name="T10" fmla="*/ 1 w 249"/>
                <a:gd name="T11" fmla="*/ 6 h 1251"/>
                <a:gd name="T12" fmla="*/ 1 w 249"/>
                <a:gd name="T13" fmla="*/ 6 h 1251"/>
                <a:gd name="T14" fmla="*/ 5 w 249"/>
                <a:gd name="T15" fmla="*/ 10 h 1251"/>
                <a:gd name="T16" fmla="*/ 1 w 249"/>
                <a:gd name="T17" fmla="*/ 15 h 1251"/>
                <a:gd name="T18" fmla="*/ 64 w 249"/>
                <a:gd name="T19" fmla="*/ 237 h 1251"/>
                <a:gd name="T20" fmla="*/ 55 w 249"/>
                <a:gd name="T21" fmla="*/ 348 h 1251"/>
                <a:gd name="T22" fmla="*/ 47 w 249"/>
                <a:gd name="T23" fmla="*/ 400 h 1251"/>
                <a:gd name="T24" fmla="*/ 42 w 249"/>
                <a:gd name="T25" fmla="*/ 403 h 1251"/>
                <a:gd name="T26" fmla="*/ 57 w 249"/>
                <a:gd name="T27" fmla="*/ 521 h 1251"/>
                <a:gd name="T28" fmla="*/ 73 w 249"/>
                <a:gd name="T29" fmla="*/ 639 h 1251"/>
                <a:gd name="T30" fmla="*/ 108 w 249"/>
                <a:gd name="T31" fmla="*/ 963 h 1251"/>
                <a:gd name="T32" fmla="*/ 249 w 249"/>
                <a:gd name="T33" fmla="*/ 1251 h 1251"/>
                <a:gd name="T34" fmla="*/ 239 w 249"/>
                <a:gd name="T35" fmla="*/ 974 h 1251"/>
                <a:gd name="T36" fmla="*/ 236 w 249"/>
                <a:gd name="T37" fmla="*/ 422 h 1251"/>
                <a:gd name="T38" fmla="*/ 205 w 249"/>
                <a:gd name="T39" fmla="*/ 19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9" h="1251">
                  <a:moveTo>
                    <a:pt x="205" y="194"/>
                  </a:moveTo>
                  <a:cubicBezTo>
                    <a:pt x="206" y="196"/>
                    <a:pt x="207" y="197"/>
                    <a:pt x="208" y="199"/>
                  </a:cubicBezTo>
                  <a:cubicBezTo>
                    <a:pt x="209" y="201"/>
                    <a:pt x="211" y="199"/>
                    <a:pt x="211" y="198"/>
                  </a:cubicBezTo>
                  <a:cubicBezTo>
                    <a:pt x="192" y="148"/>
                    <a:pt x="164" y="105"/>
                    <a:pt x="124" y="70"/>
                  </a:cubicBezTo>
                  <a:cubicBezTo>
                    <a:pt x="104" y="52"/>
                    <a:pt x="83" y="36"/>
                    <a:pt x="59" y="24"/>
                  </a:cubicBezTo>
                  <a:cubicBezTo>
                    <a:pt x="43" y="16"/>
                    <a:pt x="19" y="0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3" y="9"/>
                    <a:pt x="5" y="10"/>
                  </a:cubicBezTo>
                  <a:cubicBezTo>
                    <a:pt x="2" y="10"/>
                    <a:pt x="0" y="12"/>
                    <a:pt x="1" y="15"/>
                  </a:cubicBezTo>
                  <a:cubicBezTo>
                    <a:pt x="35" y="85"/>
                    <a:pt x="61" y="158"/>
                    <a:pt x="64" y="237"/>
                  </a:cubicBezTo>
                  <a:cubicBezTo>
                    <a:pt x="66" y="274"/>
                    <a:pt x="62" y="311"/>
                    <a:pt x="55" y="348"/>
                  </a:cubicBezTo>
                  <a:cubicBezTo>
                    <a:pt x="52" y="365"/>
                    <a:pt x="48" y="382"/>
                    <a:pt x="47" y="400"/>
                  </a:cubicBezTo>
                  <a:cubicBezTo>
                    <a:pt x="45" y="399"/>
                    <a:pt x="43" y="400"/>
                    <a:pt x="42" y="403"/>
                  </a:cubicBezTo>
                  <a:cubicBezTo>
                    <a:pt x="38" y="440"/>
                    <a:pt x="51" y="484"/>
                    <a:pt x="57" y="521"/>
                  </a:cubicBezTo>
                  <a:cubicBezTo>
                    <a:pt x="62" y="560"/>
                    <a:pt x="68" y="600"/>
                    <a:pt x="73" y="639"/>
                  </a:cubicBezTo>
                  <a:cubicBezTo>
                    <a:pt x="85" y="720"/>
                    <a:pt x="96" y="882"/>
                    <a:pt x="108" y="963"/>
                  </a:cubicBezTo>
                  <a:cubicBezTo>
                    <a:pt x="146" y="1223"/>
                    <a:pt x="249" y="1251"/>
                    <a:pt x="249" y="1251"/>
                  </a:cubicBezTo>
                  <a:cubicBezTo>
                    <a:pt x="249" y="1251"/>
                    <a:pt x="241" y="1023"/>
                    <a:pt x="239" y="974"/>
                  </a:cubicBezTo>
                  <a:cubicBezTo>
                    <a:pt x="236" y="930"/>
                    <a:pt x="231" y="568"/>
                    <a:pt x="236" y="422"/>
                  </a:cubicBezTo>
                  <a:cubicBezTo>
                    <a:pt x="238" y="348"/>
                    <a:pt x="234" y="265"/>
                    <a:pt x="205" y="194"/>
                  </a:cubicBezTo>
                  <a:close/>
                </a:path>
              </a:pathLst>
            </a:custGeom>
            <a:solidFill>
              <a:srgbClr val="4A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1" name="Freeform 64">
              <a:extLst>
                <a:ext uri="{FF2B5EF4-FFF2-40B4-BE49-F238E27FC236}">
                  <a16:creationId xmlns:a16="http://schemas.microsoft.com/office/drawing/2014/main" id="{53537E48-C65D-755B-BC90-C339F26DF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9112" y="6093639"/>
              <a:ext cx="199878" cy="115842"/>
            </a:xfrm>
            <a:custGeom>
              <a:avLst/>
              <a:gdLst>
                <a:gd name="T0" fmla="*/ 0 w 468"/>
                <a:gd name="T1" fmla="*/ 120 h 271"/>
                <a:gd name="T2" fmla="*/ 10 w 468"/>
                <a:gd name="T3" fmla="*/ 195 h 271"/>
                <a:gd name="T4" fmla="*/ 212 w 468"/>
                <a:gd name="T5" fmla="*/ 256 h 271"/>
                <a:gd name="T6" fmla="*/ 434 w 468"/>
                <a:gd name="T7" fmla="*/ 271 h 271"/>
                <a:gd name="T8" fmla="*/ 465 w 468"/>
                <a:gd name="T9" fmla="*/ 232 h 271"/>
                <a:gd name="T10" fmla="*/ 410 w 468"/>
                <a:gd name="T11" fmla="*/ 180 h 271"/>
                <a:gd name="T12" fmla="*/ 160 w 468"/>
                <a:gd name="T13" fmla="*/ 62 h 271"/>
                <a:gd name="T14" fmla="*/ 82 w 468"/>
                <a:gd name="T15" fmla="*/ 23 h 271"/>
                <a:gd name="T16" fmla="*/ 0 w 468"/>
                <a:gd name="T17" fmla="*/ 12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8" h="271">
                  <a:moveTo>
                    <a:pt x="0" y="120"/>
                  </a:moveTo>
                  <a:cubicBezTo>
                    <a:pt x="10" y="195"/>
                    <a:pt x="10" y="195"/>
                    <a:pt x="10" y="195"/>
                  </a:cubicBezTo>
                  <a:cubicBezTo>
                    <a:pt x="10" y="195"/>
                    <a:pt x="104" y="241"/>
                    <a:pt x="212" y="256"/>
                  </a:cubicBezTo>
                  <a:cubicBezTo>
                    <a:pt x="324" y="271"/>
                    <a:pt x="434" y="271"/>
                    <a:pt x="434" y="271"/>
                  </a:cubicBezTo>
                  <a:cubicBezTo>
                    <a:pt x="434" y="271"/>
                    <a:pt x="468" y="254"/>
                    <a:pt x="465" y="232"/>
                  </a:cubicBezTo>
                  <a:cubicBezTo>
                    <a:pt x="461" y="193"/>
                    <a:pt x="410" y="180"/>
                    <a:pt x="410" y="180"/>
                  </a:cubicBezTo>
                  <a:cubicBezTo>
                    <a:pt x="410" y="180"/>
                    <a:pt x="224" y="146"/>
                    <a:pt x="160" y="62"/>
                  </a:cubicBezTo>
                  <a:cubicBezTo>
                    <a:pt x="112" y="0"/>
                    <a:pt x="82" y="23"/>
                    <a:pt x="82" y="23"/>
                  </a:cubicBezTo>
                  <a:lnTo>
                    <a:pt x="0" y="120"/>
                  </a:lnTo>
                  <a:close/>
                </a:path>
              </a:pathLst>
            </a:custGeom>
            <a:solidFill>
              <a:srgbClr val="2C3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2" name="Freeform 65">
              <a:extLst>
                <a:ext uri="{FF2B5EF4-FFF2-40B4-BE49-F238E27FC236}">
                  <a16:creationId xmlns:a16="http://schemas.microsoft.com/office/drawing/2014/main" id="{4ACAA0FD-6552-97F5-FB2B-436E46259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9653" y="6068518"/>
              <a:ext cx="167348" cy="90180"/>
            </a:xfrm>
            <a:custGeom>
              <a:avLst/>
              <a:gdLst>
                <a:gd name="T0" fmla="*/ 0 w 392"/>
                <a:gd name="T1" fmla="*/ 89 h 211"/>
                <a:gd name="T2" fmla="*/ 11 w 392"/>
                <a:gd name="T3" fmla="*/ 154 h 211"/>
                <a:gd name="T4" fmla="*/ 182 w 392"/>
                <a:gd name="T5" fmla="*/ 204 h 211"/>
                <a:gd name="T6" fmla="*/ 364 w 392"/>
                <a:gd name="T7" fmla="*/ 201 h 211"/>
                <a:gd name="T8" fmla="*/ 389 w 392"/>
                <a:gd name="T9" fmla="*/ 166 h 211"/>
                <a:gd name="T10" fmla="*/ 340 w 392"/>
                <a:gd name="T11" fmla="*/ 121 h 211"/>
                <a:gd name="T12" fmla="*/ 157 w 392"/>
                <a:gd name="T13" fmla="*/ 57 h 211"/>
                <a:gd name="T14" fmla="*/ 67 w 392"/>
                <a:gd name="T15" fmla="*/ 0 h 211"/>
                <a:gd name="T16" fmla="*/ 0 w 392"/>
                <a:gd name="T17" fmla="*/ 89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211">
                  <a:moveTo>
                    <a:pt x="0" y="89"/>
                  </a:moveTo>
                  <a:cubicBezTo>
                    <a:pt x="11" y="154"/>
                    <a:pt x="11" y="154"/>
                    <a:pt x="11" y="154"/>
                  </a:cubicBezTo>
                  <a:cubicBezTo>
                    <a:pt x="11" y="154"/>
                    <a:pt x="88" y="197"/>
                    <a:pt x="182" y="204"/>
                  </a:cubicBezTo>
                  <a:cubicBezTo>
                    <a:pt x="282" y="211"/>
                    <a:pt x="364" y="201"/>
                    <a:pt x="364" y="201"/>
                  </a:cubicBezTo>
                  <a:cubicBezTo>
                    <a:pt x="364" y="201"/>
                    <a:pt x="392" y="184"/>
                    <a:pt x="389" y="166"/>
                  </a:cubicBezTo>
                  <a:cubicBezTo>
                    <a:pt x="384" y="132"/>
                    <a:pt x="340" y="121"/>
                    <a:pt x="340" y="121"/>
                  </a:cubicBezTo>
                  <a:cubicBezTo>
                    <a:pt x="340" y="121"/>
                    <a:pt x="209" y="102"/>
                    <a:pt x="157" y="57"/>
                  </a:cubicBezTo>
                  <a:cubicBezTo>
                    <a:pt x="106" y="13"/>
                    <a:pt x="67" y="0"/>
                    <a:pt x="67" y="0"/>
                  </a:cubicBezTo>
                  <a:lnTo>
                    <a:pt x="0" y="89"/>
                  </a:lnTo>
                  <a:close/>
                </a:path>
              </a:pathLst>
            </a:custGeom>
            <a:solidFill>
              <a:srgbClr val="2C3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3" name="Freeform 66">
              <a:extLst>
                <a:ext uri="{FF2B5EF4-FFF2-40B4-BE49-F238E27FC236}">
                  <a16:creationId xmlns:a16="http://schemas.microsoft.com/office/drawing/2014/main" id="{561A5326-F8F8-3488-5960-724A44B1D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449" y="5403103"/>
              <a:ext cx="133372" cy="714933"/>
            </a:xfrm>
            <a:custGeom>
              <a:avLst/>
              <a:gdLst>
                <a:gd name="T0" fmla="*/ 294 w 312"/>
                <a:gd name="T1" fmla="*/ 123 h 1673"/>
                <a:gd name="T2" fmla="*/ 312 w 312"/>
                <a:gd name="T3" fmla="*/ 919 h 1673"/>
                <a:gd name="T4" fmla="*/ 281 w 312"/>
                <a:gd name="T5" fmla="*/ 1006 h 1673"/>
                <a:gd name="T6" fmla="*/ 271 w 312"/>
                <a:gd name="T7" fmla="*/ 1645 h 1673"/>
                <a:gd name="T8" fmla="*/ 136 w 312"/>
                <a:gd name="T9" fmla="*/ 1669 h 1673"/>
                <a:gd name="T10" fmla="*/ 17 w 312"/>
                <a:gd name="T11" fmla="*/ 1669 h 1673"/>
                <a:gd name="T12" fmla="*/ 4 w 312"/>
                <a:gd name="T13" fmla="*/ 967 h 1673"/>
                <a:gd name="T14" fmla="*/ 0 w 312"/>
                <a:gd name="T15" fmla="*/ 152 h 1673"/>
                <a:gd name="T16" fmla="*/ 294 w 312"/>
                <a:gd name="T17" fmla="*/ 123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673">
                  <a:moveTo>
                    <a:pt x="294" y="123"/>
                  </a:moveTo>
                  <a:cubicBezTo>
                    <a:pt x="312" y="919"/>
                    <a:pt x="312" y="919"/>
                    <a:pt x="312" y="919"/>
                  </a:cubicBezTo>
                  <a:cubicBezTo>
                    <a:pt x="281" y="1006"/>
                    <a:pt x="281" y="1006"/>
                    <a:pt x="281" y="1006"/>
                  </a:cubicBezTo>
                  <a:cubicBezTo>
                    <a:pt x="271" y="1645"/>
                    <a:pt x="271" y="1645"/>
                    <a:pt x="271" y="1645"/>
                  </a:cubicBezTo>
                  <a:cubicBezTo>
                    <a:pt x="271" y="1645"/>
                    <a:pt x="211" y="1664"/>
                    <a:pt x="136" y="1669"/>
                  </a:cubicBezTo>
                  <a:cubicBezTo>
                    <a:pt x="60" y="1673"/>
                    <a:pt x="17" y="1669"/>
                    <a:pt x="17" y="1669"/>
                  </a:cubicBezTo>
                  <a:cubicBezTo>
                    <a:pt x="4" y="967"/>
                    <a:pt x="4" y="967"/>
                    <a:pt x="4" y="967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52"/>
                    <a:pt x="192" y="0"/>
                    <a:pt x="294" y="123"/>
                  </a:cubicBezTo>
                  <a:close/>
                </a:path>
              </a:pathLst>
            </a:custGeom>
            <a:solidFill>
              <a:srgbClr val="4B51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4" name="Freeform 67">
              <a:extLst>
                <a:ext uri="{FF2B5EF4-FFF2-40B4-BE49-F238E27FC236}">
                  <a16:creationId xmlns:a16="http://schemas.microsoft.com/office/drawing/2014/main" id="{47D2A00F-34CD-FE6E-81B7-1C85BBF4E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4655" y="5518945"/>
              <a:ext cx="157589" cy="650415"/>
            </a:xfrm>
            <a:custGeom>
              <a:avLst/>
              <a:gdLst>
                <a:gd name="T0" fmla="*/ 0 w 369"/>
                <a:gd name="T1" fmla="*/ 0 h 1522"/>
                <a:gd name="T2" fmla="*/ 36 w 369"/>
                <a:gd name="T3" fmla="*/ 715 h 1522"/>
                <a:gd name="T4" fmla="*/ 10 w 369"/>
                <a:gd name="T5" fmla="*/ 1513 h 1522"/>
                <a:gd name="T6" fmla="*/ 123 w 369"/>
                <a:gd name="T7" fmla="*/ 1516 h 1522"/>
                <a:gd name="T8" fmla="*/ 311 w 369"/>
                <a:gd name="T9" fmla="*/ 1488 h 1522"/>
                <a:gd name="T10" fmla="*/ 335 w 369"/>
                <a:gd name="T11" fmla="*/ 804 h 1522"/>
                <a:gd name="T12" fmla="*/ 339 w 369"/>
                <a:gd name="T13" fmla="*/ 389 h 1522"/>
                <a:gd name="T14" fmla="*/ 369 w 369"/>
                <a:gd name="T15" fmla="*/ 7 h 1522"/>
                <a:gd name="T16" fmla="*/ 0 w 369"/>
                <a:gd name="T17" fmla="*/ 0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522">
                  <a:moveTo>
                    <a:pt x="0" y="0"/>
                  </a:moveTo>
                  <a:cubicBezTo>
                    <a:pt x="36" y="715"/>
                    <a:pt x="36" y="715"/>
                    <a:pt x="36" y="715"/>
                  </a:cubicBezTo>
                  <a:cubicBezTo>
                    <a:pt x="10" y="1513"/>
                    <a:pt x="10" y="1513"/>
                    <a:pt x="10" y="1513"/>
                  </a:cubicBezTo>
                  <a:cubicBezTo>
                    <a:pt x="10" y="1513"/>
                    <a:pt x="54" y="1522"/>
                    <a:pt x="123" y="1516"/>
                  </a:cubicBezTo>
                  <a:cubicBezTo>
                    <a:pt x="192" y="1509"/>
                    <a:pt x="311" y="1488"/>
                    <a:pt x="311" y="1488"/>
                  </a:cubicBezTo>
                  <a:cubicBezTo>
                    <a:pt x="335" y="804"/>
                    <a:pt x="335" y="804"/>
                    <a:pt x="335" y="804"/>
                  </a:cubicBezTo>
                  <a:cubicBezTo>
                    <a:pt x="339" y="389"/>
                    <a:pt x="339" y="389"/>
                    <a:pt x="339" y="389"/>
                  </a:cubicBezTo>
                  <a:cubicBezTo>
                    <a:pt x="369" y="7"/>
                    <a:pt x="369" y="7"/>
                    <a:pt x="369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4A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5" name="Freeform 68">
              <a:extLst>
                <a:ext uri="{FF2B5EF4-FFF2-40B4-BE49-F238E27FC236}">
                  <a16:creationId xmlns:a16="http://schemas.microsoft.com/office/drawing/2014/main" id="{11C1C437-DB7B-57FE-AD75-4CF911E53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932" y="4956180"/>
              <a:ext cx="264395" cy="599091"/>
            </a:xfrm>
            <a:custGeom>
              <a:avLst/>
              <a:gdLst>
                <a:gd name="T0" fmla="*/ 619 w 619"/>
                <a:gd name="T1" fmla="*/ 805 h 1402"/>
                <a:gd name="T2" fmla="*/ 609 w 619"/>
                <a:gd name="T3" fmla="*/ 1229 h 1402"/>
                <a:gd name="T4" fmla="*/ 554 w 619"/>
                <a:gd name="T5" fmla="*/ 1381 h 1402"/>
                <a:gd name="T6" fmla="*/ 276 w 619"/>
                <a:gd name="T7" fmla="*/ 1381 h 1402"/>
                <a:gd name="T8" fmla="*/ 68 w 619"/>
                <a:gd name="T9" fmla="*/ 1339 h 1402"/>
                <a:gd name="T10" fmla="*/ 130 w 619"/>
                <a:gd name="T11" fmla="*/ 922 h 1402"/>
                <a:gd name="T12" fmla="*/ 11 w 619"/>
                <a:gd name="T13" fmla="*/ 306 h 1402"/>
                <a:gd name="T14" fmla="*/ 73 w 619"/>
                <a:gd name="T15" fmla="*/ 121 h 1402"/>
                <a:gd name="T16" fmla="*/ 147 w 619"/>
                <a:gd name="T17" fmla="*/ 42 h 1402"/>
                <a:gd name="T18" fmla="*/ 198 w 619"/>
                <a:gd name="T19" fmla="*/ 0 h 1402"/>
                <a:gd name="T20" fmla="*/ 389 w 619"/>
                <a:gd name="T21" fmla="*/ 224 h 1402"/>
                <a:gd name="T22" fmla="*/ 535 w 619"/>
                <a:gd name="T23" fmla="*/ 471 h 1402"/>
                <a:gd name="T24" fmla="*/ 619 w 619"/>
                <a:gd name="T25" fmla="*/ 805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9" h="1402">
                  <a:moveTo>
                    <a:pt x="619" y="805"/>
                  </a:moveTo>
                  <a:cubicBezTo>
                    <a:pt x="609" y="1229"/>
                    <a:pt x="609" y="1229"/>
                    <a:pt x="609" y="1229"/>
                  </a:cubicBezTo>
                  <a:cubicBezTo>
                    <a:pt x="554" y="1381"/>
                    <a:pt x="554" y="1381"/>
                    <a:pt x="554" y="1381"/>
                  </a:cubicBezTo>
                  <a:cubicBezTo>
                    <a:pt x="554" y="1381"/>
                    <a:pt x="445" y="1402"/>
                    <a:pt x="276" y="1381"/>
                  </a:cubicBezTo>
                  <a:cubicBezTo>
                    <a:pt x="108" y="1360"/>
                    <a:pt x="68" y="1339"/>
                    <a:pt x="68" y="1339"/>
                  </a:cubicBezTo>
                  <a:cubicBezTo>
                    <a:pt x="130" y="922"/>
                    <a:pt x="130" y="922"/>
                    <a:pt x="130" y="922"/>
                  </a:cubicBezTo>
                  <a:cubicBezTo>
                    <a:pt x="11" y="306"/>
                    <a:pt x="11" y="306"/>
                    <a:pt x="11" y="306"/>
                  </a:cubicBezTo>
                  <a:cubicBezTo>
                    <a:pt x="11" y="306"/>
                    <a:pt x="0" y="200"/>
                    <a:pt x="73" y="121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315" y="121"/>
                    <a:pt x="389" y="224"/>
                  </a:cubicBezTo>
                  <a:cubicBezTo>
                    <a:pt x="462" y="327"/>
                    <a:pt x="535" y="471"/>
                    <a:pt x="535" y="471"/>
                  </a:cubicBezTo>
                  <a:cubicBezTo>
                    <a:pt x="535" y="471"/>
                    <a:pt x="617" y="608"/>
                    <a:pt x="619" y="805"/>
                  </a:cubicBezTo>
                  <a:close/>
                </a:path>
              </a:pathLst>
            </a:custGeom>
            <a:solidFill>
              <a:srgbClr val="5460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6" name="Freeform 69">
              <a:extLst>
                <a:ext uri="{FF2B5EF4-FFF2-40B4-BE49-F238E27FC236}">
                  <a16:creationId xmlns:a16="http://schemas.microsoft.com/office/drawing/2014/main" id="{022105F5-4296-D4E5-564C-60D79F2D7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702" y="4992143"/>
              <a:ext cx="112770" cy="190480"/>
            </a:xfrm>
            <a:custGeom>
              <a:avLst/>
              <a:gdLst>
                <a:gd name="T0" fmla="*/ 238 w 264"/>
                <a:gd name="T1" fmla="*/ 212 h 446"/>
                <a:gd name="T2" fmla="*/ 147 w 264"/>
                <a:gd name="T3" fmla="*/ 44 h 446"/>
                <a:gd name="T4" fmla="*/ 4 w 264"/>
                <a:gd name="T5" fmla="*/ 23 h 446"/>
                <a:gd name="T6" fmla="*/ 2 w 264"/>
                <a:gd name="T7" fmla="*/ 30 h 446"/>
                <a:gd name="T8" fmla="*/ 264 w 264"/>
                <a:gd name="T9" fmla="*/ 446 h 446"/>
                <a:gd name="T10" fmla="*/ 238 w 264"/>
                <a:gd name="T11" fmla="*/ 212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4" h="446">
                  <a:moveTo>
                    <a:pt x="238" y="212"/>
                  </a:moveTo>
                  <a:cubicBezTo>
                    <a:pt x="224" y="154"/>
                    <a:pt x="188" y="91"/>
                    <a:pt x="147" y="44"/>
                  </a:cubicBezTo>
                  <a:cubicBezTo>
                    <a:pt x="151" y="46"/>
                    <a:pt x="59" y="0"/>
                    <a:pt x="4" y="23"/>
                  </a:cubicBezTo>
                  <a:cubicBezTo>
                    <a:pt x="1" y="24"/>
                    <a:pt x="0" y="28"/>
                    <a:pt x="2" y="30"/>
                  </a:cubicBezTo>
                  <a:cubicBezTo>
                    <a:pt x="113" y="155"/>
                    <a:pt x="264" y="446"/>
                    <a:pt x="264" y="446"/>
                  </a:cubicBezTo>
                  <a:cubicBezTo>
                    <a:pt x="264" y="446"/>
                    <a:pt x="258" y="291"/>
                    <a:pt x="238" y="212"/>
                  </a:cubicBezTo>
                  <a:close/>
                </a:path>
              </a:pathLst>
            </a:custGeom>
            <a:solidFill>
              <a:srgbClr val="B1B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7" name="Freeform 70">
              <a:extLst>
                <a:ext uri="{FF2B5EF4-FFF2-40B4-BE49-F238E27FC236}">
                  <a16:creationId xmlns:a16="http://schemas.microsoft.com/office/drawing/2014/main" id="{399809ED-92E2-9F55-6086-4900729ED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907" y="4937023"/>
              <a:ext cx="102107" cy="102469"/>
            </a:xfrm>
            <a:custGeom>
              <a:avLst/>
              <a:gdLst>
                <a:gd name="T0" fmla="*/ 239 w 239"/>
                <a:gd name="T1" fmla="*/ 209 h 240"/>
                <a:gd name="T2" fmla="*/ 238 w 239"/>
                <a:gd name="T3" fmla="*/ 173 h 240"/>
                <a:gd name="T4" fmla="*/ 235 w 239"/>
                <a:gd name="T5" fmla="*/ 167 h 240"/>
                <a:gd name="T6" fmla="*/ 234 w 239"/>
                <a:gd name="T7" fmla="*/ 165 h 240"/>
                <a:gd name="T8" fmla="*/ 134 w 239"/>
                <a:gd name="T9" fmla="*/ 82 h 240"/>
                <a:gd name="T10" fmla="*/ 85 w 239"/>
                <a:gd name="T11" fmla="*/ 42 h 240"/>
                <a:gd name="T12" fmla="*/ 39 w 239"/>
                <a:gd name="T13" fmla="*/ 8 h 240"/>
                <a:gd name="T14" fmla="*/ 33 w 239"/>
                <a:gd name="T15" fmla="*/ 0 h 240"/>
                <a:gd name="T16" fmla="*/ 1 w 239"/>
                <a:gd name="T17" fmla="*/ 29 h 240"/>
                <a:gd name="T18" fmla="*/ 5 w 239"/>
                <a:gd name="T19" fmla="*/ 35 h 240"/>
                <a:gd name="T20" fmla="*/ 115 w 239"/>
                <a:gd name="T21" fmla="*/ 140 h 240"/>
                <a:gd name="T22" fmla="*/ 225 w 239"/>
                <a:gd name="T23" fmla="*/ 238 h 240"/>
                <a:gd name="T24" fmla="*/ 233 w 239"/>
                <a:gd name="T25" fmla="*/ 237 h 240"/>
                <a:gd name="T26" fmla="*/ 234 w 239"/>
                <a:gd name="T27" fmla="*/ 236 h 240"/>
                <a:gd name="T28" fmla="*/ 239 w 239"/>
                <a:gd name="T29" fmla="*/ 20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9" h="240">
                  <a:moveTo>
                    <a:pt x="239" y="209"/>
                  </a:moveTo>
                  <a:cubicBezTo>
                    <a:pt x="239" y="197"/>
                    <a:pt x="238" y="185"/>
                    <a:pt x="238" y="173"/>
                  </a:cubicBezTo>
                  <a:cubicBezTo>
                    <a:pt x="238" y="170"/>
                    <a:pt x="237" y="169"/>
                    <a:pt x="235" y="167"/>
                  </a:cubicBezTo>
                  <a:cubicBezTo>
                    <a:pt x="235" y="167"/>
                    <a:pt x="234" y="166"/>
                    <a:pt x="234" y="165"/>
                  </a:cubicBezTo>
                  <a:cubicBezTo>
                    <a:pt x="201" y="136"/>
                    <a:pt x="167" y="109"/>
                    <a:pt x="134" y="8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71" y="30"/>
                    <a:pt x="56" y="14"/>
                    <a:pt x="39" y="8"/>
                  </a:cubicBezTo>
                  <a:cubicBezTo>
                    <a:pt x="40" y="4"/>
                    <a:pt x="38" y="0"/>
                    <a:pt x="33" y="0"/>
                  </a:cubicBezTo>
                  <a:cubicBezTo>
                    <a:pt x="17" y="1"/>
                    <a:pt x="3" y="12"/>
                    <a:pt x="1" y="29"/>
                  </a:cubicBezTo>
                  <a:cubicBezTo>
                    <a:pt x="0" y="32"/>
                    <a:pt x="2" y="34"/>
                    <a:pt x="5" y="35"/>
                  </a:cubicBezTo>
                  <a:cubicBezTo>
                    <a:pt x="38" y="74"/>
                    <a:pt x="78" y="106"/>
                    <a:pt x="115" y="140"/>
                  </a:cubicBezTo>
                  <a:cubicBezTo>
                    <a:pt x="151" y="173"/>
                    <a:pt x="185" y="210"/>
                    <a:pt x="225" y="238"/>
                  </a:cubicBezTo>
                  <a:cubicBezTo>
                    <a:pt x="228" y="240"/>
                    <a:pt x="231" y="239"/>
                    <a:pt x="233" y="237"/>
                  </a:cubicBezTo>
                  <a:cubicBezTo>
                    <a:pt x="233" y="237"/>
                    <a:pt x="233" y="236"/>
                    <a:pt x="234" y="236"/>
                  </a:cubicBezTo>
                  <a:cubicBezTo>
                    <a:pt x="239" y="228"/>
                    <a:pt x="239" y="218"/>
                    <a:pt x="239" y="209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8" name="Freeform 71">
              <a:extLst>
                <a:ext uri="{FF2B5EF4-FFF2-40B4-BE49-F238E27FC236}">
                  <a16:creationId xmlns:a16="http://schemas.microsoft.com/office/drawing/2014/main" id="{E2F51635-D333-53EA-E743-881A394A0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1942" y="5018167"/>
              <a:ext cx="163191" cy="282467"/>
            </a:xfrm>
            <a:custGeom>
              <a:avLst/>
              <a:gdLst>
                <a:gd name="T0" fmla="*/ 346 w 382"/>
                <a:gd name="T1" fmla="*/ 470 h 661"/>
                <a:gd name="T2" fmla="*/ 264 w 382"/>
                <a:gd name="T3" fmla="*/ 356 h 661"/>
                <a:gd name="T4" fmla="*/ 199 w 382"/>
                <a:gd name="T5" fmla="*/ 221 h 661"/>
                <a:gd name="T6" fmla="*/ 184 w 382"/>
                <a:gd name="T7" fmla="*/ 177 h 661"/>
                <a:gd name="T8" fmla="*/ 145 w 382"/>
                <a:gd name="T9" fmla="*/ 100 h 661"/>
                <a:gd name="T10" fmla="*/ 3 w 382"/>
                <a:gd name="T11" fmla="*/ 1 h 661"/>
                <a:gd name="T12" fmla="*/ 1 w 382"/>
                <a:gd name="T13" fmla="*/ 3 h 661"/>
                <a:gd name="T14" fmla="*/ 119 w 382"/>
                <a:gd name="T15" fmla="*/ 271 h 661"/>
                <a:gd name="T16" fmla="*/ 164 w 382"/>
                <a:gd name="T17" fmla="*/ 556 h 661"/>
                <a:gd name="T18" fmla="*/ 244 w 382"/>
                <a:gd name="T19" fmla="*/ 646 h 661"/>
                <a:gd name="T20" fmla="*/ 350 w 382"/>
                <a:gd name="T21" fmla="*/ 634 h 661"/>
                <a:gd name="T22" fmla="*/ 378 w 382"/>
                <a:gd name="T23" fmla="*/ 577 h 661"/>
                <a:gd name="T24" fmla="*/ 346 w 382"/>
                <a:gd name="T25" fmla="*/ 47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2" h="661">
                  <a:moveTo>
                    <a:pt x="346" y="470"/>
                  </a:moveTo>
                  <a:cubicBezTo>
                    <a:pt x="319" y="431"/>
                    <a:pt x="287" y="397"/>
                    <a:pt x="264" y="356"/>
                  </a:cubicBezTo>
                  <a:cubicBezTo>
                    <a:pt x="257" y="306"/>
                    <a:pt x="235" y="258"/>
                    <a:pt x="199" y="221"/>
                  </a:cubicBezTo>
                  <a:cubicBezTo>
                    <a:pt x="195" y="206"/>
                    <a:pt x="189" y="191"/>
                    <a:pt x="184" y="177"/>
                  </a:cubicBezTo>
                  <a:cubicBezTo>
                    <a:pt x="174" y="150"/>
                    <a:pt x="162" y="123"/>
                    <a:pt x="145" y="100"/>
                  </a:cubicBezTo>
                  <a:cubicBezTo>
                    <a:pt x="110" y="51"/>
                    <a:pt x="57" y="22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9" y="7"/>
                    <a:pt x="78" y="80"/>
                    <a:pt x="119" y="271"/>
                  </a:cubicBezTo>
                  <a:cubicBezTo>
                    <a:pt x="145" y="394"/>
                    <a:pt x="150" y="520"/>
                    <a:pt x="164" y="556"/>
                  </a:cubicBezTo>
                  <a:cubicBezTo>
                    <a:pt x="178" y="595"/>
                    <a:pt x="206" y="630"/>
                    <a:pt x="244" y="646"/>
                  </a:cubicBezTo>
                  <a:cubicBezTo>
                    <a:pt x="279" y="661"/>
                    <a:pt x="321" y="659"/>
                    <a:pt x="350" y="634"/>
                  </a:cubicBezTo>
                  <a:cubicBezTo>
                    <a:pt x="368" y="618"/>
                    <a:pt x="378" y="598"/>
                    <a:pt x="378" y="577"/>
                  </a:cubicBezTo>
                  <a:cubicBezTo>
                    <a:pt x="382" y="539"/>
                    <a:pt x="367" y="502"/>
                    <a:pt x="346" y="470"/>
                  </a:cubicBezTo>
                  <a:close/>
                </a:path>
              </a:pathLst>
            </a:custGeom>
            <a:solidFill>
              <a:srgbClr val="505B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39" name="Freeform 72">
              <a:extLst>
                <a:ext uri="{FF2B5EF4-FFF2-40B4-BE49-F238E27FC236}">
                  <a16:creationId xmlns:a16="http://schemas.microsoft.com/office/drawing/2014/main" id="{4A8A801A-6488-8E23-7C3D-68F3E871CD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6281" y="4733170"/>
              <a:ext cx="155420" cy="142770"/>
            </a:xfrm>
            <a:custGeom>
              <a:avLst/>
              <a:gdLst>
                <a:gd name="T0" fmla="*/ 351 w 364"/>
                <a:gd name="T1" fmla="*/ 105 h 334"/>
                <a:gd name="T2" fmla="*/ 352 w 364"/>
                <a:gd name="T3" fmla="*/ 101 h 334"/>
                <a:gd name="T4" fmla="*/ 157 w 364"/>
                <a:gd name="T5" fmla="*/ 12 h 334"/>
                <a:gd name="T6" fmla="*/ 157 w 364"/>
                <a:gd name="T7" fmla="*/ 12 h 334"/>
                <a:gd name="T8" fmla="*/ 156 w 364"/>
                <a:gd name="T9" fmla="*/ 12 h 334"/>
                <a:gd name="T10" fmla="*/ 155 w 364"/>
                <a:gd name="T11" fmla="*/ 13 h 334"/>
                <a:gd name="T12" fmla="*/ 20 w 364"/>
                <a:gd name="T13" fmla="*/ 103 h 334"/>
                <a:gd name="T14" fmla="*/ 7 w 364"/>
                <a:gd name="T15" fmla="*/ 237 h 334"/>
                <a:gd name="T16" fmla="*/ 7 w 364"/>
                <a:gd name="T17" fmla="*/ 239 h 334"/>
                <a:gd name="T18" fmla="*/ 11 w 364"/>
                <a:gd name="T19" fmla="*/ 242 h 334"/>
                <a:gd name="T20" fmla="*/ 28 w 364"/>
                <a:gd name="T21" fmla="*/ 248 h 334"/>
                <a:gd name="T22" fmla="*/ 32 w 364"/>
                <a:gd name="T23" fmla="*/ 325 h 334"/>
                <a:gd name="T24" fmla="*/ 33 w 364"/>
                <a:gd name="T25" fmla="*/ 327 h 334"/>
                <a:gd name="T26" fmla="*/ 34 w 364"/>
                <a:gd name="T27" fmla="*/ 332 h 334"/>
                <a:gd name="T28" fmla="*/ 46 w 364"/>
                <a:gd name="T29" fmla="*/ 329 h 334"/>
                <a:gd name="T30" fmla="*/ 50 w 364"/>
                <a:gd name="T31" fmla="*/ 326 h 334"/>
                <a:gd name="T32" fmla="*/ 53 w 364"/>
                <a:gd name="T33" fmla="*/ 218 h 334"/>
                <a:gd name="T34" fmla="*/ 85 w 364"/>
                <a:gd name="T35" fmla="*/ 168 h 334"/>
                <a:gd name="T36" fmla="*/ 83 w 364"/>
                <a:gd name="T37" fmla="*/ 165 h 334"/>
                <a:gd name="T38" fmla="*/ 82 w 364"/>
                <a:gd name="T39" fmla="*/ 113 h 334"/>
                <a:gd name="T40" fmla="*/ 112 w 364"/>
                <a:gd name="T41" fmla="*/ 81 h 334"/>
                <a:gd name="T42" fmla="*/ 140 w 364"/>
                <a:gd name="T43" fmla="*/ 79 h 334"/>
                <a:gd name="T44" fmla="*/ 195 w 364"/>
                <a:gd name="T45" fmla="*/ 84 h 334"/>
                <a:gd name="T46" fmla="*/ 206 w 364"/>
                <a:gd name="T47" fmla="*/ 96 h 334"/>
                <a:gd name="T48" fmla="*/ 221 w 364"/>
                <a:gd name="T49" fmla="*/ 110 h 334"/>
                <a:gd name="T50" fmla="*/ 223 w 364"/>
                <a:gd name="T51" fmla="*/ 113 h 334"/>
                <a:gd name="T52" fmla="*/ 276 w 364"/>
                <a:gd name="T53" fmla="*/ 121 h 334"/>
                <a:gd name="T54" fmla="*/ 328 w 364"/>
                <a:gd name="T55" fmla="*/ 140 h 334"/>
                <a:gd name="T56" fmla="*/ 342 w 364"/>
                <a:gd name="T57" fmla="*/ 227 h 334"/>
                <a:gd name="T58" fmla="*/ 345 w 364"/>
                <a:gd name="T59" fmla="*/ 230 h 334"/>
                <a:gd name="T60" fmla="*/ 351 w 364"/>
                <a:gd name="T61" fmla="*/ 232 h 334"/>
                <a:gd name="T62" fmla="*/ 356 w 364"/>
                <a:gd name="T63" fmla="*/ 219 h 334"/>
                <a:gd name="T64" fmla="*/ 358 w 364"/>
                <a:gd name="T65" fmla="*/ 214 h 334"/>
                <a:gd name="T66" fmla="*/ 360 w 364"/>
                <a:gd name="T67" fmla="*/ 212 h 334"/>
                <a:gd name="T68" fmla="*/ 351 w 364"/>
                <a:gd name="T69" fmla="*/ 105 h 334"/>
                <a:gd name="T70" fmla="*/ 96 w 364"/>
                <a:gd name="T71" fmla="*/ 86 h 334"/>
                <a:gd name="T72" fmla="*/ 98 w 364"/>
                <a:gd name="T73" fmla="*/ 83 h 334"/>
                <a:gd name="T74" fmla="*/ 98 w 364"/>
                <a:gd name="T75" fmla="*/ 83 h 334"/>
                <a:gd name="T76" fmla="*/ 96 w 364"/>
                <a:gd name="T77" fmla="*/ 86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" h="334">
                  <a:moveTo>
                    <a:pt x="351" y="105"/>
                  </a:moveTo>
                  <a:cubicBezTo>
                    <a:pt x="352" y="104"/>
                    <a:pt x="353" y="102"/>
                    <a:pt x="352" y="101"/>
                  </a:cubicBezTo>
                  <a:cubicBezTo>
                    <a:pt x="317" y="36"/>
                    <a:pt x="231" y="0"/>
                    <a:pt x="157" y="12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6" y="12"/>
                    <a:pt x="156" y="12"/>
                  </a:cubicBezTo>
                  <a:cubicBezTo>
                    <a:pt x="156" y="12"/>
                    <a:pt x="155" y="13"/>
                    <a:pt x="155" y="13"/>
                  </a:cubicBezTo>
                  <a:cubicBezTo>
                    <a:pt x="104" y="21"/>
                    <a:pt x="32" y="49"/>
                    <a:pt x="20" y="103"/>
                  </a:cubicBezTo>
                  <a:cubicBezTo>
                    <a:pt x="3" y="143"/>
                    <a:pt x="0" y="195"/>
                    <a:pt x="7" y="237"/>
                  </a:cubicBezTo>
                  <a:cubicBezTo>
                    <a:pt x="6" y="238"/>
                    <a:pt x="7" y="239"/>
                    <a:pt x="7" y="239"/>
                  </a:cubicBezTo>
                  <a:cubicBezTo>
                    <a:pt x="7" y="242"/>
                    <a:pt x="9" y="243"/>
                    <a:pt x="11" y="242"/>
                  </a:cubicBezTo>
                  <a:cubicBezTo>
                    <a:pt x="16" y="244"/>
                    <a:pt x="22" y="247"/>
                    <a:pt x="28" y="248"/>
                  </a:cubicBezTo>
                  <a:cubicBezTo>
                    <a:pt x="31" y="273"/>
                    <a:pt x="34" y="298"/>
                    <a:pt x="32" y="325"/>
                  </a:cubicBezTo>
                  <a:cubicBezTo>
                    <a:pt x="32" y="326"/>
                    <a:pt x="32" y="326"/>
                    <a:pt x="33" y="327"/>
                  </a:cubicBezTo>
                  <a:cubicBezTo>
                    <a:pt x="32" y="328"/>
                    <a:pt x="32" y="331"/>
                    <a:pt x="34" y="332"/>
                  </a:cubicBezTo>
                  <a:cubicBezTo>
                    <a:pt x="38" y="334"/>
                    <a:pt x="43" y="332"/>
                    <a:pt x="46" y="329"/>
                  </a:cubicBezTo>
                  <a:cubicBezTo>
                    <a:pt x="48" y="329"/>
                    <a:pt x="50" y="328"/>
                    <a:pt x="50" y="326"/>
                  </a:cubicBezTo>
                  <a:cubicBezTo>
                    <a:pt x="52" y="290"/>
                    <a:pt x="54" y="254"/>
                    <a:pt x="53" y="218"/>
                  </a:cubicBezTo>
                  <a:cubicBezTo>
                    <a:pt x="65" y="202"/>
                    <a:pt x="74" y="185"/>
                    <a:pt x="85" y="168"/>
                  </a:cubicBezTo>
                  <a:cubicBezTo>
                    <a:pt x="86" y="167"/>
                    <a:pt x="85" y="165"/>
                    <a:pt x="83" y="165"/>
                  </a:cubicBezTo>
                  <a:cubicBezTo>
                    <a:pt x="83" y="147"/>
                    <a:pt x="83" y="130"/>
                    <a:pt x="82" y="113"/>
                  </a:cubicBezTo>
                  <a:cubicBezTo>
                    <a:pt x="91" y="101"/>
                    <a:pt x="100" y="90"/>
                    <a:pt x="112" y="81"/>
                  </a:cubicBezTo>
                  <a:cubicBezTo>
                    <a:pt x="121" y="80"/>
                    <a:pt x="131" y="79"/>
                    <a:pt x="140" y="79"/>
                  </a:cubicBezTo>
                  <a:cubicBezTo>
                    <a:pt x="159" y="78"/>
                    <a:pt x="177" y="82"/>
                    <a:pt x="195" y="84"/>
                  </a:cubicBezTo>
                  <a:cubicBezTo>
                    <a:pt x="198" y="88"/>
                    <a:pt x="202" y="92"/>
                    <a:pt x="206" y="96"/>
                  </a:cubicBezTo>
                  <a:cubicBezTo>
                    <a:pt x="210" y="100"/>
                    <a:pt x="215" y="107"/>
                    <a:pt x="221" y="110"/>
                  </a:cubicBezTo>
                  <a:cubicBezTo>
                    <a:pt x="221" y="112"/>
                    <a:pt x="222" y="113"/>
                    <a:pt x="223" y="113"/>
                  </a:cubicBezTo>
                  <a:cubicBezTo>
                    <a:pt x="240" y="118"/>
                    <a:pt x="259" y="117"/>
                    <a:pt x="276" y="121"/>
                  </a:cubicBezTo>
                  <a:cubicBezTo>
                    <a:pt x="294" y="126"/>
                    <a:pt x="311" y="133"/>
                    <a:pt x="328" y="140"/>
                  </a:cubicBezTo>
                  <a:cubicBezTo>
                    <a:pt x="335" y="168"/>
                    <a:pt x="340" y="197"/>
                    <a:pt x="342" y="227"/>
                  </a:cubicBezTo>
                  <a:cubicBezTo>
                    <a:pt x="342" y="229"/>
                    <a:pt x="343" y="230"/>
                    <a:pt x="345" y="230"/>
                  </a:cubicBezTo>
                  <a:cubicBezTo>
                    <a:pt x="344" y="233"/>
                    <a:pt x="350" y="235"/>
                    <a:pt x="351" y="232"/>
                  </a:cubicBezTo>
                  <a:cubicBezTo>
                    <a:pt x="353" y="228"/>
                    <a:pt x="355" y="223"/>
                    <a:pt x="356" y="219"/>
                  </a:cubicBezTo>
                  <a:cubicBezTo>
                    <a:pt x="357" y="217"/>
                    <a:pt x="358" y="216"/>
                    <a:pt x="358" y="214"/>
                  </a:cubicBezTo>
                  <a:cubicBezTo>
                    <a:pt x="359" y="214"/>
                    <a:pt x="360" y="213"/>
                    <a:pt x="360" y="212"/>
                  </a:cubicBezTo>
                  <a:cubicBezTo>
                    <a:pt x="364" y="179"/>
                    <a:pt x="363" y="137"/>
                    <a:pt x="351" y="105"/>
                  </a:cubicBezTo>
                  <a:close/>
                  <a:moveTo>
                    <a:pt x="96" y="86"/>
                  </a:moveTo>
                  <a:cubicBezTo>
                    <a:pt x="96" y="85"/>
                    <a:pt x="97" y="84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7" y="84"/>
                    <a:pt x="97" y="85"/>
                    <a:pt x="96" y="86"/>
                  </a:cubicBezTo>
                  <a:close/>
                </a:path>
              </a:pathLst>
            </a:custGeom>
            <a:solidFill>
              <a:srgbClr val="353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0" name="Freeform 73">
              <a:extLst>
                <a:ext uri="{FF2B5EF4-FFF2-40B4-BE49-F238E27FC236}">
                  <a16:creationId xmlns:a16="http://schemas.microsoft.com/office/drawing/2014/main" id="{D3472BFE-D76C-8596-03CB-E2E08E80C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460" y="5210093"/>
              <a:ext cx="54758" cy="90541"/>
            </a:xfrm>
            <a:custGeom>
              <a:avLst/>
              <a:gdLst>
                <a:gd name="T0" fmla="*/ 125 w 128"/>
                <a:gd name="T1" fmla="*/ 142 h 212"/>
                <a:gd name="T2" fmla="*/ 96 w 128"/>
                <a:gd name="T3" fmla="*/ 69 h 212"/>
                <a:gd name="T4" fmla="*/ 44 w 128"/>
                <a:gd name="T5" fmla="*/ 13 h 212"/>
                <a:gd name="T6" fmla="*/ 4 w 128"/>
                <a:gd name="T7" fmla="*/ 106 h 212"/>
                <a:gd name="T8" fmla="*/ 100 w 128"/>
                <a:gd name="T9" fmla="*/ 211 h 212"/>
                <a:gd name="T10" fmla="*/ 104 w 128"/>
                <a:gd name="T11" fmla="*/ 202 h 212"/>
                <a:gd name="T12" fmla="*/ 102 w 128"/>
                <a:gd name="T13" fmla="*/ 201 h 212"/>
                <a:gd name="T14" fmla="*/ 110 w 128"/>
                <a:gd name="T15" fmla="*/ 197 h 212"/>
                <a:gd name="T16" fmla="*/ 125 w 128"/>
                <a:gd name="T17" fmla="*/ 14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212">
                  <a:moveTo>
                    <a:pt x="125" y="142"/>
                  </a:moveTo>
                  <a:cubicBezTo>
                    <a:pt x="121" y="116"/>
                    <a:pt x="110" y="91"/>
                    <a:pt x="96" y="69"/>
                  </a:cubicBezTo>
                  <a:cubicBezTo>
                    <a:pt x="85" y="50"/>
                    <a:pt x="67" y="19"/>
                    <a:pt x="44" y="13"/>
                  </a:cubicBezTo>
                  <a:cubicBezTo>
                    <a:pt x="0" y="0"/>
                    <a:pt x="0" y="82"/>
                    <a:pt x="4" y="106"/>
                  </a:cubicBezTo>
                  <a:cubicBezTo>
                    <a:pt x="13" y="153"/>
                    <a:pt x="50" y="204"/>
                    <a:pt x="100" y="211"/>
                  </a:cubicBezTo>
                  <a:cubicBezTo>
                    <a:pt x="106" y="212"/>
                    <a:pt x="109" y="204"/>
                    <a:pt x="104" y="202"/>
                  </a:cubicBezTo>
                  <a:cubicBezTo>
                    <a:pt x="103" y="201"/>
                    <a:pt x="103" y="201"/>
                    <a:pt x="102" y="201"/>
                  </a:cubicBezTo>
                  <a:cubicBezTo>
                    <a:pt x="105" y="200"/>
                    <a:pt x="108" y="198"/>
                    <a:pt x="110" y="197"/>
                  </a:cubicBezTo>
                  <a:cubicBezTo>
                    <a:pt x="127" y="184"/>
                    <a:pt x="128" y="161"/>
                    <a:pt x="125" y="142"/>
                  </a:cubicBezTo>
                  <a:close/>
                </a:path>
              </a:pathLst>
            </a:custGeom>
            <a:solidFill>
              <a:srgbClr val="7E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1" name="Freeform 74">
              <a:extLst>
                <a:ext uri="{FF2B5EF4-FFF2-40B4-BE49-F238E27FC236}">
                  <a16:creationId xmlns:a16="http://schemas.microsoft.com/office/drawing/2014/main" id="{82198C58-BE6C-601B-418B-03C84BF7F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0979" y="5202322"/>
              <a:ext cx="126866" cy="73192"/>
            </a:xfrm>
            <a:custGeom>
              <a:avLst/>
              <a:gdLst>
                <a:gd name="T0" fmla="*/ 288 w 297"/>
                <a:gd name="T1" fmla="*/ 118 h 171"/>
                <a:gd name="T2" fmla="*/ 247 w 297"/>
                <a:gd name="T3" fmla="*/ 43 h 171"/>
                <a:gd name="T4" fmla="*/ 125 w 297"/>
                <a:gd name="T5" fmla="*/ 9 h 171"/>
                <a:gd name="T6" fmla="*/ 44 w 297"/>
                <a:gd name="T7" fmla="*/ 0 h 171"/>
                <a:gd name="T8" fmla="*/ 16 w 297"/>
                <a:gd name="T9" fmla="*/ 11 h 171"/>
                <a:gd name="T10" fmla="*/ 10 w 297"/>
                <a:gd name="T11" fmla="*/ 13 h 171"/>
                <a:gd name="T12" fmla="*/ 85 w 297"/>
                <a:gd name="T13" fmla="*/ 111 h 171"/>
                <a:gd name="T14" fmla="*/ 272 w 297"/>
                <a:gd name="T15" fmla="*/ 170 h 171"/>
                <a:gd name="T16" fmla="*/ 276 w 297"/>
                <a:gd name="T17" fmla="*/ 170 h 171"/>
                <a:gd name="T18" fmla="*/ 287 w 297"/>
                <a:gd name="T19" fmla="*/ 165 h 171"/>
                <a:gd name="T20" fmla="*/ 288 w 297"/>
                <a:gd name="T21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7" h="171">
                  <a:moveTo>
                    <a:pt x="288" y="118"/>
                  </a:moveTo>
                  <a:cubicBezTo>
                    <a:pt x="282" y="93"/>
                    <a:pt x="268" y="64"/>
                    <a:pt x="247" y="43"/>
                  </a:cubicBezTo>
                  <a:cubicBezTo>
                    <a:pt x="227" y="9"/>
                    <a:pt x="164" y="14"/>
                    <a:pt x="125" y="9"/>
                  </a:cubicBezTo>
                  <a:cubicBezTo>
                    <a:pt x="99" y="6"/>
                    <a:pt x="71" y="1"/>
                    <a:pt x="44" y="0"/>
                  </a:cubicBezTo>
                  <a:cubicBezTo>
                    <a:pt x="31" y="0"/>
                    <a:pt x="21" y="2"/>
                    <a:pt x="16" y="11"/>
                  </a:cubicBezTo>
                  <a:cubicBezTo>
                    <a:pt x="14" y="10"/>
                    <a:pt x="11" y="10"/>
                    <a:pt x="10" y="13"/>
                  </a:cubicBezTo>
                  <a:cubicBezTo>
                    <a:pt x="0" y="55"/>
                    <a:pt x="47" y="92"/>
                    <a:pt x="85" y="111"/>
                  </a:cubicBezTo>
                  <a:cubicBezTo>
                    <a:pt x="141" y="141"/>
                    <a:pt x="208" y="159"/>
                    <a:pt x="272" y="170"/>
                  </a:cubicBezTo>
                  <a:cubicBezTo>
                    <a:pt x="274" y="171"/>
                    <a:pt x="275" y="170"/>
                    <a:pt x="276" y="170"/>
                  </a:cubicBezTo>
                  <a:cubicBezTo>
                    <a:pt x="280" y="170"/>
                    <a:pt x="284" y="169"/>
                    <a:pt x="287" y="165"/>
                  </a:cubicBezTo>
                  <a:cubicBezTo>
                    <a:pt x="297" y="153"/>
                    <a:pt x="290" y="131"/>
                    <a:pt x="288" y="118"/>
                  </a:cubicBez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2" name="Freeform 75">
              <a:extLst>
                <a:ext uri="{FF2B5EF4-FFF2-40B4-BE49-F238E27FC236}">
                  <a16:creationId xmlns:a16="http://schemas.microsoft.com/office/drawing/2014/main" id="{73E23158-6FF2-1792-35EF-B17ADE1C6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809" y="5204852"/>
              <a:ext cx="30723" cy="63795"/>
            </a:xfrm>
            <a:custGeom>
              <a:avLst/>
              <a:gdLst>
                <a:gd name="T0" fmla="*/ 53 w 72"/>
                <a:gd name="T1" fmla="*/ 8 h 149"/>
                <a:gd name="T2" fmla="*/ 4 w 72"/>
                <a:gd name="T3" fmla="*/ 0 h 149"/>
                <a:gd name="T4" fmla="*/ 4 w 72"/>
                <a:gd name="T5" fmla="*/ 1 h 149"/>
                <a:gd name="T6" fmla="*/ 4 w 72"/>
                <a:gd name="T7" fmla="*/ 1 h 149"/>
                <a:gd name="T8" fmla="*/ 13 w 72"/>
                <a:gd name="T9" fmla="*/ 63 h 149"/>
                <a:gd name="T10" fmla="*/ 15 w 72"/>
                <a:gd name="T11" fmla="*/ 134 h 149"/>
                <a:gd name="T12" fmla="*/ 22 w 72"/>
                <a:gd name="T13" fmla="*/ 139 h 149"/>
                <a:gd name="T14" fmla="*/ 38 w 72"/>
                <a:gd name="T15" fmla="*/ 143 h 149"/>
                <a:gd name="T16" fmla="*/ 60 w 72"/>
                <a:gd name="T17" fmla="*/ 145 h 149"/>
                <a:gd name="T18" fmla="*/ 64 w 72"/>
                <a:gd name="T19" fmla="*/ 141 h 149"/>
                <a:gd name="T20" fmla="*/ 66 w 72"/>
                <a:gd name="T21" fmla="*/ 45 h 149"/>
                <a:gd name="T22" fmla="*/ 53 w 72"/>
                <a:gd name="T23" fmla="*/ 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49">
                  <a:moveTo>
                    <a:pt x="53" y="8"/>
                  </a:moveTo>
                  <a:cubicBezTo>
                    <a:pt x="36" y="6"/>
                    <a:pt x="20" y="3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0" y="21"/>
                    <a:pt x="10" y="43"/>
                    <a:pt x="13" y="63"/>
                  </a:cubicBezTo>
                  <a:cubicBezTo>
                    <a:pt x="16" y="87"/>
                    <a:pt x="15" y="110"/>
                    <a:pt x="15" y="134"/>
                  </a:cubicBezTo>
                  <a:cubicBezTo>
                    <a:pt x="15" y="138"/>
                    <a:pt x="19" y="139"/>
                    <a:pt x="22" y="139"/>
                  </a:cubicBezTo>
                  <a:cubicBezTo>
                    <a:pt x="27" y="141"/>
                    <a:pt x="33" y="142"/>
                    <a:pt x="38" y="143"/>
                  </a:cubicBezTo>
                  <a:cubicBezTo>
                    <a:pt x="44" y="145"/>
                    <a:pt x="54" y="149"/>
                    <a:pt x="60" y="145"/>
                  </a:cubicBezTo>
                  <a:cubicBezTo>
                    <a:pt x="62" y="145"/>
                    <a:pt x="63" y="144"/>
                    <a:pt x="64" y="141"/>
                  </a:cubicBezTo>
                  <a:cubicBezTo>
                    <a:pt x="72" y="110"/>
                    <a:pt x="72" y="76"/>
                    <a:pt x="66" y="45"/>
                  </a:cubicBezTo>
                  <a:cubicBezTo>
                    <a:pt x="64" y="33"/>
                    <a:pt x="61" y="18"/>
                    <a:pt x="53" y="8"/>
                  </a:cubicBez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3" name="Freeform 76">
              <a:extLst>
                <a:ext uri="{FF2B5EF4-FFF2-40B4-BE49-F238E27FC236}">
                  <a16:creationId xmlns:a16="http://schemas.microsoft.com/office/drawing/2014/main" id="{5978F641-BD31-6B36-EF31-B6ADBA26C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4111" y="5214792"/>
              <a:ext cx="40120" cy="37951"/>
            </a:xfrm>
            <a:custGeom>
              <a:avLst/>
              <a:gdLst>
                <a:gd name="T0" fmla="*/ 90 w 94"/>
                <a:gd name="T1" fmla="*/ 46 h 89"/>
                <a:gd name="T2" fmla="*/ 75 w 94"/>
                <a:gd name="T3" fmla="*/ 22 h 89"/>
                <a:gd name="T4" fmla="*/ 74 w 94"/>
                <a:gd name="T5" fmla="*/ 20 h 89"/>
                <a:gd name="T6" fmla="*/ 20 w 94"/>
                <a:gd name="T7" fmla="*/ 11 h 89"/>
                <a:gd name="T8" fmla="*/ 7 w 94"/>
                <a:gd name="T9" fmla="*/ 26 h 89"/>
                <a:gd name="T10" fmla="*/ 19 w 94"/>
                <a:gd name="T11" fmla="*/ 71 h 89"/>
                <a:gd name="T12" fmla="*/ 57 w 94"/>
                <a:gd name="T13" fmla="*/ 89 h 89"/>
                <a:gd name="T14" fmla="*/ 81 w 94"/>
                <a:gd name="T15" fmla="*/ 78 h 89"/>
                <a:gd name="T16" fmla="*/ 90 w 94"/>
                <a:gd name="T1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89">
                  <a:moveTo>
                    <a:pt x="90" y="46"/>
                  </a:moveTo>
                  <a:cubicBezTo>
                    <a:pt x="88" y="36"/>
                    <a:pt x="83" y="28"/>
                    <a:pt x="75" y="22"/>
                  </a:cubicBezTo>
                  <a:cubicBezTo>
                    <a:pt x="75" y="21"/>
                    <a:pt x="75" y="21"/>
                    <a:pt x="74" y="20"/>
                  </a:cubicBezTo>
                  <a:cubicBezTo>
                    <a:pt x="61" y="7"/>
                    <a:pt x="37" y="0"/>
                    <a:pt x="20" y="11"/>
                  </a:cubicBezTo>
                  <a:cubicBezTo>
                    <a:pt x="13" y="14"/>
                    <a:pt x="9" y="20"/>
                    <a:pt x="7" y="26"/>
                  </a:cubicBezTo>
                  <a:cubicBezTo>
                    <a:pt x="0" y="42"/>
                    <a:pt x="6" y="59"/>
                    <a:pt x="19" y="71"/>
                  </a:cubicBezTo>
                  <a:cubicBezTo>
                    <a:pt x="29" y="82"/>
                    <a:pt x="42" y="89"/>
                    <a:pt x="57" y="89"/>
                  </a:cubicBezTo>
                  <a:cubicBezTo>
                    <a:pt x="66" y="88"/>
                    <a:pt x="75" y="84"/>
                    <a:pt x="81" y="78"/>
                  </a:cubicBezTo>
                  <a:cubicBezTo>
                    <a:pt x="92" y="69"/>
                    <a:pt x="94" y="57"/>
                    <a:pt x="90" y="46"/>
                  </a:cubicBezTo>
                  <a:close/>
                </a:path>
              </a:pathLst>
            </a:custGeom>
            <a:solidFill>
              <a:srgbClr val="BD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4" name="Freeform 77">
              <a:extLst>
                <a:ext uri="{FF2B5EF4-FFF2-40B4-BE49-F238E27FC236}">
                  <a16:creationId xmlns:a16="http://schemas.microsoft.com/office/drawing/2014/main" id="{A192DA15-D1A4-E6F2-57CC-198117AE4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4231" y="5210454"/>
              <a:ext cx="123071" cy="103011"/>
            </a:xfrm>
            <a:custGeom>
              <a:avLst/>
              <a:gdLst>
                <a:gd name="T0" fmla="*/ 281 w 288"/>
                <a:gd name="T1" fmla="*/ 102 h 241"/>
                <a:gd name="T2" fmla="*/ 166 w 288"/>
                <a:gd name="T3" fmla="*/ 36 h 241"/>
                <a:gd name="T4" fmla="*/ 100 w 288"/>
                <a:gd name="T5" fmla="*/ 22 h 241"/>
                <a:gd name="T6" fmla="*/ 1 w 288"/>
                <a:gd name="T7" fmla="*/ 3 h 241"/>
                <a:gd name="T8" fmla="*/ 60 w 288"/>
                <a:gd name="T9" fmla="*/ 95 h 241"/>
                <a:gd name="T10" fmla="*/ 71 w 288"/>
                <a:gd name="T11" fmla="*/ 197 h 241"/>
                <a:gd name="T12" fmla="*/ 72 w 288"/>
                <a:gd name="T13" fmla="*/ 203 h 241"/>
                <a:gd name="T14" fmla="*/ 99 w 288"/>
                <a:gd name="T15" fmla="*/ 225 h 241"/>
                <a:gd name="T16" fmla="*/ 122 w 288"/>
                <a:gd name="T17" fmla="*/ 237 h 241"/>
                <a:gd name="T18" fmla="*/ 123 w 288"/>
                <a:gd name="T19" fmla="*/ 236 h 241"/>
                <a:gd name="T20" fmla="*/ 199 w 288"/>
                <a:gd name="T21" fmla="*/ 235 h 241"/>
                <a:gd name="T22" fmla="*/ 217 w 288"/>
                <a:gd name="T23" fmla="*/ 231 h 241"/>
                <a:gd name="T24" fmla="*/ 271 w 288"/>
                <a:gd name="T25" fmla="*/ 195 h 241"/>
                <a:gd name="T26" fmla="*/ 281 w 288"/>
                <a:gd name="T27" fmla="*/ 102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1">
                  <a:moveTo>
                    <a:pt x="281" y="102"/>
                  </a:moveTo>
                  <a:cubicBezTo>
                    <a:pt x="271" y="55"/>
                    <a:pt x="218" y="16"/>
                    <a:pt x="166" y="36"/>
                  </a:cubicBezTo>
                  <a:cubicBezTo>
                    <a:pt x="147" y="24"/>
                    <a:pt x="123" y="20"/>
                    <a:pt x="100" y="22"/>
                  </a:cubicBezTo>
                  <a:cubicBezTo>
                    <a:pt x="75" y="7"/>
                    <a:pt x="29" y="0"/>
                    <a:pt x="1" y="3"/>
                  </a:cubicBezTo>
                  <a:cubicBezTo>
                    <a:pt x="0" y="2"/>
                    <a:pt x="49" y="64"/>
                    <a:pt x="60" y="95"/>
                  </a:cubicBezTo>
                  <a:cubicBezTo>
                    <a:pt x="73" y="129"/>
                    <a:pt x="74" y="162"/>
                    <a:pt x="71" y="197"/>
                  </a:cubicBezTo>
                  <a:cubicBezTo>
                    <a:pt x="70" y="199"/>
                    <a:pt x="71" y="201"/>
                    <a:pt x="72" y="203"/>
                  </a:cubicBezTo>
                  <a:cubicBezTo>
                    <a:pt x="80" y="211"/>
                    <a:pt x="90" y="218"/>
                    <a:pt x="99" y="225"/>
                  </a:cubicBezTo>
                  <a:cubicBezTo>
                    <a:pt x="105" y="229"/>
                    <a:pt x="113" y="239"/>
                    <a:pt x="122" y="237"/>
                  </a:cubicBezTo>
                  <a:cubicBezTo>
                    <a:pt x="123" y="237"/>
                    <a:pt x="123" y="236"/>
                    <a:pt x="123" y="236"/>
                  </a:cubicBezTo>
                  <a:cubicBezTo>
                    <a:pt x="147" y="241"/>
                    <a:pt x="175" y="237"/>
                    <a:pt x="199" y="235"/>
                  </a:cubicBezTo>
                  <a:cubicBezTo>
                    <a:pt x="205" y="234"/>
                    <a:pt x="212" y="233"/>
                    <a:pt x="217" y="231"/>
                  </a:cubicBezTo>
                  <a:cubicBezTo>
                    <a:pt x="240" y="230"/>
                    <a:pt x="261" y="213"/>
                    <a:pt x="271" y="195"/>
                  </a:cubicBezTo>
                  <a:cubicBezTo>
                    <a:pt x="288" y="168"/>
                    <a:pt x="287" y="132"/>
                    <a:pt x="281" y="102"/>
                  </a:cubicBezTo>
                  <a:close/>
                </a:path>
              </a:pathLst>
            </a:custGeom>
            <a:solidFill>
              <a:srgbClr val="4A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5" name="Freeform 78">
              <a:extLst>
                <a:ext uri="{FF2B5EF4-FFF2-40B4-BE49-F238E27FC236}">
                  <a16:creationId xmlns:a16="http://schemas.microsoft.com/office/drawing/2014/main" id="{35E05815-917E-DC6E-1859-4FDBD5262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496" y="5305333"/>
              <a:ext cx="27831" cy="202046"/>
            </a:xfrm>
            <a:custGeom>
              <a:avLst/>
              <a:gdLst>
                <a:gd name="T0" fmla="*/ 0 w 154"/>
                <a:gd name="T1" fmla="*/ 1118 h 1118"/>
                <a:gd name="T2" fmla="*/ 47 w 154"/>
                <a:gd name="T3" fmla="*/ 974 h 1118"/>
                <a:gd name="T4" fmla="*/ 36 w 154"/>
                <a:gd name="T5" fmla="*/ 31 h 1118"/>
                <a:gd name="T6" fmla="*/ 128 w 154"/>
                <a:gd name="T7" fmla="*/ 0 h 1118"/>
                <a:gd name="T8" fmla="*/ 154 w 154"/>
                <a:gd name="T9" fmla="*/ 1118 h 1118"/>
                <a:gd name="T10" fmla="*/ 0 w 154"/>
                <a:gd name="T11" fmla="*/ 1118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1118">
                  <a:moveTo>
                    <a:pt x="0" y="1118"/>
                  </a:moveTo>
                  <a:lnTo>
                    <a:pt x="47" y="974"/>
                  </a:lnTo>
                  <a:lnTo>
                    <a:pt x="36" y="31"/>
                  </a:lnTo>
                  <a:lnTo>
                    <a:pt x="128" y="0"/>
                  </a:lnTo>
                  <a:lnTo>
                    <a:pt x="154" y="1118"/>
                  </a:lnTo>
                  <a:lnTo>
                    <a:pt x="0" y="1118"/>
                  </a:lnTo>
                  <a:close/>
                </a:path>
              </a:pathLst>
            </a:custGeom>
            <a:solidFill>
              <a:srgbClr val="C2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6" name="Freeform 79">
              <a:extLst>
                <a:ext uri="{FF2B5EF4-FFF2-40B4-BE49-F238E27FC236}">
                  <a16:creationId xmlns:a16="http://schemas.microsoft.com/office/drawing/2014/main" id="{5A61E15C-6D3D-8CF0-7A6A-C2C9E62A8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4414" y="4945156"/>
              <a:ext cx="174396" cy="226444"/>
            </a:xfrm>
            <a:custGeom>
              <a:avLst/>
              <a:gdLst>
                <a:gd name="T0" fmla="*/ 60 w 408"/>
                <a:gd name="T1" fmla="*/ 0 h 530"/>
                <a:gd name="T2" fmla="*/ 0 w 408"/>
                <a:gd name="T3" fmla="*/ 86 h 530"/>
                <a:gd name="T4" fmla="*/ 126 w 408"/>
                <a:gd name="T5" fmla="*/ 201 h 530"/>
                <a:gd name="T6" fmla="*/ 218 w 408"/>
                <a:gd name="T7" fmla="*/ 196 h 530"/>
                <a:gd name="T8" fmla="*/ 187 w 408"/>
                <a:gd name="T9" fmla="*/ 267 h 530"/>
                <a:gd name="T10" fmla="*/ 395 w 408"/>
                <a:gd name="T11" fmla="*/ 527 h 530"/>
                <a:gd name="T12" fmla="*/ 407 w 408"/>
                <a:gd name="T13" fmla="*/ 492 h 530"/>
                <a:gd name="T14" fmla="*/ 309 w 408"/>
                <a:gd name="T15" fmla="*/ 250 h 530"/>
                <a:gd name="T16" fmla="*/ 60 w 408"/>
                <a:gd name="T1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8" h="530">
                  <a:moveTo>
                    <a:pt x="60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126" y="201"/>
                    <a:pt x="126" y="201"/>
                    <a:pt x="126" y="201"/>
                  </a:cubicBezTo>
                  <a:cubicBezTo>
                    <a:pt x="218" y="196"/>
                    <a:pt x="218" y="196"/>
                    <a:pt x="218" y="196"/>
                  </a:cubicBezTo>
                  <a:cubicBezTo>
                    <a:pt x="187" y="267"/>
                    <a:pt x="187" y="267"/>
                    <a:pt x="187" y="267"/>
                  </a:cubicBezTo>
                  <a:cubicBezTo>
                    <a:pt x="395" y="527"/>
                    <a:pt x="395" y="527"/>
                    <a:pt x="395" y="527"/>
                  </a:cubicBezTo>
                  <a:cubicBezTo>
                    <a:pt x="395" y="527"/>
                    <a:pt x="406" y="530"/>
                    <a:pt x="407" y="492"/>
                  </a:cubicBezTo>
                  <a:cubicBezTo>
                    <a:pt x="408" y="454"/>
                    <a:pt x="370" y="333"/>
                    <a:pt x="309" y="250"/>
                  </a:cubicBezTo>
                  <a:cubicBezTo>
                    <a:pt x="248" y="166"/>
                    <a:pt x="60" y="0"/>
                    <a:pt x="60" y="0"/>
                  </a:cubicBezTo>
                  <a:close/>
                </a:path>
              </a:pathLst>
            </a:custGeom>
            <a:solidFill>
              <a:srgbClr val="4A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7" name="Freeform 80">
              <a:extLst>
                <a:ext uri="{FF2B5EF4-FFF2-40B4-BE49-F238E27FC236}">
                  <a16:creationId xmlns:a16="http://schemas.microsoft.com/office/drawing/2014/main" id="{DA925771-EEFB-11BD-40FE-6B6934FEE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051" y="4984011"/>
              <a:ext cx="46084" cy="75722"/>
            </a:xfrm>
            <a:custGeom>
              <a:avLst/>
              <a:gdLst>
                <a:gd name="T0" fmla="*/ 0 w 108"/>
                <a:gd name="T1" fmla="*/ 55 h 177"/>
                <a:gd name="T2" fmla="*/ 14 w 108"/>
                <a:gd name="T3" fmla="*/ 0 h 177"/>
                <a:gd name="T4" fmla="*/ 54 w 108"/>
                <a:gd name="T5" fmla="*/ 40 h 177"/>
                <a:gd name="T6" fmla="*/ 81 w 108"/>
                <a:gd name="T7" fmla="*/ 98 h 177"/>
                <a:gd name="T8" fmla="*/ 108 w 108"/>
                <a:gd name="T9" fmla="*/ 177 h 177"/>
                <a:gd name="T10" fmla="*/ 51 w 108"/>
                <a:gd name="T11" fmla="*/ 106 h 177"/>
                <a:gd name="T12" fmla="*/ 0 w 108"/>
                <a:gd name="T13" fmla="*/ 5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77">
                  <a:moveTo>
                    <a:pt x="0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37" y="15"/>
                    <a:pt x="54" y="40"/>
                  </a:cubicBezTo>
                  <a:cubicBezTo>
                    <a:pt x="71" y="66"/>
                    <a:pt x="75" y="78"/>
                    <a:pt x="81" y="98"/>
                  </a:cubicBezTo>
                  <a:cubicBezTo>
                    <a:pt x="88" y="118"/>
                    <a:pt x="108" y="177"/>
                    <a:pt x="108" y="177"/>
                  </a:cubicBezTo>
                  <a:cubicBezTo>
                    <a:pt x="108" y="177"/>
                    <a:pt x="69" y="128"/>
                    <a:pt x="51" y="106"/>
                  </a:cubicBezTo>
                  <a:cubicBezTo>
                    <a:pt x="33" y="84"/>
                    <a:pt x="0" y="55"/>
                    <a:pt x="0" y="55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8" name="Freeform 81">
              <a:extLst>
                <a:ext uri="{FF2B5EF4-FFF2-40B4-BE49-F238E27FC236}">
                  <a16:creationId xmlns:a16="http://schemas.microsoft.com/office/drawing/2014/main" id="{D405445A-7EAB-9047-2F3D-553A08D3C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703" y="5010577"/>
              <a:ext cx="311744" cy="338310"/>
            </a:xfrm>
            <a:custGeom>
              <a:avLst/>
              <a:gdLst>
                <a:gd name="T0" fmla="*/ 710 w 730"/>
                <a:gd name="T1" fmla="*/ 595 h 792"/>
                <a:gd name="T2" fmla="*/ 658 w 730"/>
                <a:gd name="T3" fmla="*/ 606 h 792"/>
                <a:gd name="T4" fmla="*/ 616 w 730"/>
                <a:gd name="T5" fmla="*/ 600 h 792"/>
                <a:gd name="T6" fmla="*/ 565 w 730"/>
                <a:gd name="T7" fmla="*/ 582 h 792"/>
                <a:gd name="T8" fmla="*/ 482 w 730"/>
                <a:gd name="T9" fmla="*/ 521 h 792"/>
                <a:gd name="T10" fmla="*/ 414 w 730"/>
                <a:gd name="T11" fmla="*/ 432 h 792"/>
                <a:gd name="T12" fmla="*/ 367 w 730"/>
                <a:gd name="T13" fmla="*/ 355 h 792"/>
                <a:gd name="T14" fmla="*/ 340 w 730"/>
                <a:gd name="T15" fmla="*/ 196 h 792"/>
                <a:gd name="T16" fmla="*/ 237 w 730"/>
                <a:gd name="T17" fmla="*/ 46 h 792"/>
                <a:gd name="T18" fmla="*/ 83 w 730"/>
                <a:gd name="T19" fmla="*/ 19 h 792"/>
                <a:gd name="T20" fmla="*/ 21 w 730"/>
                <a:gd name="T21" fmla="*/ 69 h 792"/>
                <a:gd name="T22" fmla="*/ 9 w 730"/>
                <a:gd name="T23" fmla="*/ 97 h 792"/>
                <a:gd name="T24" fmla="*/ 3 w 730"/>
                <a:gd name="T25" fmla="*/ 124 h 792"/>
                <a:gd name="T26" fmla="*/ 4 w 730"/>
                <a:gd name="T27" fmla="*/ 124 h 792"/>
                <a:gd name="T28" fmla="*/ 11 w 730"/>
                <a:gd name="T29" fmla="*/ 230 h 792"/>
                <a:gd name="T30" fmla="*/ 38 w 730"/>
                <a:gd name="T31" fmla="*/ 371 h 792"/>
                <a:gd name="T32" fmla="*/ 79 w 730"/>
                <a:gd name="T33" fmla="*/ 508 h 792"/>
                <a:gd name="T34" fmla="*/ 85 w 730"/>
                <a:gd name="T35" fmla="*/ 509 h 792"/>
                <a:gd name="T36" fmla="*/ 161 w 730"/>
                <a:gd name="T37" fmla="*/ 638 h 792"/>
                <a:gd name="T38" fmla="*/ 304 w 730"/>
                <a:gd name="T39" fmla="*/ 771 h 792"/>
                <a:gd name="T40" fmla="*/ 305 w 730"/>
                <a:gd name="T41" fmla="*/ 771 h 792"/>
                <a:gd name="T42" fmla="*/ 458 w 730"/>
                <a:gd name="T43" fmla="*/ 755 h 792"/>
                <a:gd name="T44" fmla="*/ 726 w 730"/>
                <a:gd name="T45" fmla="*/ 689 h 792"/>
                <a:gd name="T46" fmla="*/ 710 w 730"/>
                <a:gd name="T47" fmla="*/ 595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0" h="792">
                  <a:moveTo>
                    <a:pt x="710" y="595"/>
                  </a:moveTo>
                  <a:cubicBezTo>
                    <a:pt x="710" y="595"/>
                    <a:pt x="669" y="606"/>
                    <a:pt x="658" y="606"/>
                  </a:cubicBezTo>
                  <a:cubicBezTo>
                    <a:pt x="644" y="603"/>
                    <a:pt x="630" y="603"/>
                    <a:pt x="616" y="600"/>
                  </a:cubicBezTo>
                  <a:cubicBezTo>
                    <a:pt x="598" y="596"/>
                    <a:pt x="581" y="590"/>
                    <a:pt x="565" y="582"/>
                  </a:cubicBezTo>
                  <a:cubicBezTo>
                    <a:pt x="534" y="567"/>
                    <a:pt x="506" y="545"/>
                    <a:pt x="482" y="521"/>
                  </a:cubicBezTo>
                  <a:cubicBezTo>
                    <a:pt x="456" y="494"/>
                    <a:pt x="434" y="463"/>
                    <a:pt x="414" y="432"/>
                  </a:cubicBezTo>
                  <a:cubicBezTo>
                    <a:pt x="398" y="407"/>
                    <a:pt x="386" y="378"/>
                    <a:pt x="367" y="355"/>
                  </a:cubicBezTo>
                  <a:cubicBezTo>
                    <a:pt x="368" y="301"/>
                    <a:pt x="357" y="246"/>
                    <a:pt x="340" y="196"/>
                  </a:cubicBezTo>
                  <a:cubicBezTo>
                    <a:pt x="319" y="139"/>
                    <a:pt x="288" y="82"/>
                    <a:pt x="237" y="46"/>
                  </a:cubicBezTo>
                  <a:cubicBezTo>
                    <a:pt x="194" y="15"/>
                    <a:pt x="135" y="0"/>
                    <a:pt x="83" y="19"/>
                  </a:cubicBezTo>
                  <a:cubicBezTo>
                    <a:pt x="57" y="29"/>
                    <a:pt x="35" y="47"/>
                    <a:pt x="21" y="69"/>
                  </a:cubicBezTo>
                  <a:cubicBezTo>
                    <a:pt x="16" y="78"/>
                    <a:pt x="12" y="87"/>
                    <a:pt x="9" y="97"/>
                  </a:cubicBezTo>
                  <a:cubicBezTo>
                    <a:pt x="6" y="106"/>
                    <a:pt x="4" y="114"/>
                    <a:pt x="3" y="124"/>
                  </a:cubicBezTo>
                  <a:cubicBezTo>
                    <a:pt x="3" y="124"/>
                    <a:pt x="4" y="124"/>
                    <a:pt x="4" y="124"/>
                  </a:cubicBezTo>
                  <a:cubicBezTo>
                    <a:pt x="0" y="160"/>
                    <a:pt x="6" y="200"/>
                    <a:pt x="11" y="230"/>
                  </a:cubicBezTo>
                  <a:cubicBezTo>
                    <a:pt x="18" y="277"/>
                    <a:pt x="27" y="324"/>
                    <a:pt x="38" y="371"/>
                  </a:cubicBezTo>
                  <a:cubicBezTo>
                    <a:pt x="48" y="416"/>
                    <a:pt x="58" y="466"/>
                    <a:pt x="79" y="508"/>
                  </a:cubicBezTo>
                  <a:cubicBezTo>
                    <a:pt x="80" y="510"/>
                    <a:pt x="83" y="510"/>
                    <a:pt x="85" y="509"/>
                  </a:cubicBezTo>
                  <a:cubicBezTo>
                    <a:pt x="104" y="555"/>
                    <a:pt x="130" y="598"/>
                    <a:pt x="161" y="638"/>
                  </a:cubicBezTo>
                  <a:cubicBezTo>
                    <a:pt x="199" y="687"/>
                    <a:pt x="248" y="742"/>
                    <a:pt x="304" y="771"/>
                  </a:cubicBezTo>
                  <a:cubicBezTo>
                    <a:pt x="305" y="771"/>
                    <a:pt x="305" y="771"/>
                    <a:pt x="305" y="771"/>
                  </a:cubicBezTo>
                  <a:cubicBezTo>
                    <a:pt x="347" y="792"/>
                    <a:pt x="421" y="764"/>
                    <a:pt x="458" y="755"/>
                  </a:cubicBezTo>
                  <a:cubicBezTo>
                    <a:pt x="533" y="736"/>
                    <a:pt x="727" y="691"/>
                    <a:pt x="726" y="689"/>
                  </a:cubicBezTo>
                  <a:cubicBezTo>
                    <a:pt x="730" y="682"/>
                    <a:pt x="710" y="595"/>
                    <a:pt x="710" y="595"/>
                  </a:cubicBezTo>
                  <a:close/>
                </a:path>
              </a:pathLst>
            </a:custGeom>
            <a:solidFill>
              <a:srgbClr val="4A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49" name="Freeform 82">
              <a:extLst>
                <a:ext uri="{FF2B5EF4-FFF2-40B4-BE49-F238E27FC236}">
                  <a16:creationId xmlns:a16="http://schemas.microsoft.com/office/drawing/2014/main" id="{52866068-8FC8-D953-1E46-99E643845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2004" y="4912265"/>
              <a:ext cx="94336" cy="97409"/>
            </a:xfrm>
            <a:custGeom>
              <a:avLst/>
              <a:gdLst>
                <a:gd name="T0" fmla="*/ 87 w 221"/>
                <a:gd name="T1" fmla="*/ 88 h 228"/>
                <a:gd name="T2" fmla="*/ 0 w 221"/>
                <a:gd name="T3" fmla="*/ 0 h 228"/>
                <a:gd name="T4" fmla="*/ 0 w 221"/>
                <a:gd name="T5" fmla="*/ 0 h 228"/>
                <a:gd name="T6" fmla="*/ 2 w 221"/>
                <a:gd name="T7" fmla="*/ 9 h 228"/>
                <a:gd name="T8" fmla="*/ 2 w 221"/>
                <a:gd name="T9" fmla="*/ 71 h 228"/>
                <a:gd name="T10" fmla="*/ 2 w 221"/>
                <a:gd name="T11" fmla="*/ 76 h 228"/>
                <a:gd name="T12" fmla="*/ 102 w 221"/>
                <a:gd name="T13" fmla="*/ 141 h 228"/>
                <a:gd name="T14" fmla="*/ 191 w 221"/>
                <a:gd name="T15" fmla="*/ 222 h 228"/>
                <a:gd name="T16" fmla="*/ 200 w 221"/>
                <a:gd name="T17" fmla="*/ 213 h 228"/>
                <a:gd name="T18" fmla="*/ 209 w 221"/>
                <a:gd name="T19" fmla="*/ 149 h 228"/>
                <a:gd name="T20" fmla="*/ 221 w 221"/>
                <a:gd name="T21" fmla="*/ 94 h 228"/>
                <a:gd name="T22" fmla="*/ 87 w 221"/>
                <a:gd name="T23" fmla="*/ 8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1" h="228">
                  <a:moveTo>
                    <a:pt x="87" y="88"/>
                  </a:moveTo>
                  <a:cubicBezTo>
                    <a:pt x="22" y="44"/>
                    <a:pt x="8" y="3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2" y="9"/>
                  </a:cubicBezTo>
                  <a:cubicBezTo>
                    <a:pt x="4" y="30"/>
                    <a:pt x="3" y="50"/>
                    <a:pt x="2" y="71"/>
                  </a:cubicBezTo>
                  <a:cubicBezTo>
                    <a:pt x="1" y="72"/>
                    <a:pt x="0" y="74"/>
                    <a:pt x="2" y="76"/>
                  </a:cubicBezTo>
                  <a:cubicBezTo>
                    <a:pt x="34" y="100"/>
                    <a:pt x="71" y="117"/>
                    <a:pt x="102" y="141"/>
                  </a:cubicBezTo>
                  <a:cubicBezTo>
                    <a:pt x="134" y="166"/>
                    <a:pt x="164" y="193"/>
                    <a:pt x="191" y="222"/>
                  </a:cubicBezTo>
                  <a:cubicBezTo>
                    <a:pt x="197" y="228"/>
                    <a:pt x="205" y="219"/>
                    <a:pt x="200" y="213"/>
                  </a:cubicBezTo>
                  <a:cubicBezTo>
                    <a:pt x="206" y="193"/>
                    <a:pt x="205" y="170"/>
                    <a:pt x="209" y="149"/>
                  </a:cubicBezTo>
                  <a:cubicBezTo>
                    <a:pt x="212" y="131"/>
                    <a:pt x="217" y="113"/>
                    <a:pt x="221" y="94"/>
                  </a:cubicBezTo>
                  <a:cubicBezTo>
                    <a:pt x="195" y="110"/>
                    <a:pt x="152" y="132"/>
                    <a:pt x="87" y="88"/>
                  </a:cubicBez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0" name="Freeform 85">
              <a:extLst>
                <a:ext uri="{FF2B5EF4-FFF2-40B4-BE49-F238E27FC236}">
                  <a16:creationId xmlns:a16="http://schemas.microsoft.com/office/drawing/2014/main" id="{72C969A1-EAE1-1337-7A65-83D4FEF63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454" y="5442500"/>
              <a:ext cx="50783" cy="76987"/>
            </a:xfrm>
            <a:custGeom>
              <a:avLst/>
              <a:gdLst>
                <a:gd name="T0" fmla="*/ 0 w 119"/>
                <a:gd name="T1" fmla="*/ 50 h 180"/>
                <a:gd name="T2" fmla="*/ 16 w 119"/>
                <a:gd name="T3" fmla="*/ 101 h 180"/>
                <a:gd name="T4" fmla="*/ 39 w 119"/>
                <a:gd name="T5" fmla="*/ 163 h 180"/>
                <a:gd name="T6" fmla="*/ 47 w 119"/>
                <a:gd name="T7" fmla="*/ 169 h 180"/>
                <a:gd name="T8" fmla="*/ 52 w 119"/>
                <a:gd name="T9" fmla="*/ 179 h 180"/>
                <a:gd name="T10" fmla="*/ 117 w 119"/>
                <a:gd name="T11" fmla="*/ 95 h 180"/>
                <a:gd name="T12" fmla="*/ 55 w 119"/>
                <a:gd name="T13" fmla="*/ 2 h 180"/>
                <a:gd name="T14" fmla="*/ 52 w 119"/>
                <a:gd name="T15" fmla="*/ 2 h 180"/>
                <a:gd name="T16" fmla="*/ 42 w 119"/>
                <a:gd name="T17" fmla="*/ 3 h 180"/>
                <a:gd name="T18" fmla="*/ 0 w 119"/>
                <a:gd name="T19" fmla="*/ 5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80">
                  <a:moveTo>
                    <a:pt x="0" y="50"/>
                  </a:moveTo>
                  <a:cubicBezTo>
                    <a:pt x="0" y="67"/>
                    <a:pt x="10" y="86"/>
                    <a:pt x="16" y="101"/>
                  </a:cubicBezTo>
                  <a:cubicBezTo>
                    <a:pt x="23" y="121"/>
                    <a:pt x="31" y="142"/>
                    <a:pt x="39" y="163"/>
                  </a:cubicBezTo>
                  <a:cubicBezTo>
                    <a:pt x="40" y="167"/>
                    <a:pt x="43" y="169"/>
                    <a:pt x="47" y="169"/>
                  </a:cubicBezTo>
                  <a:cubicBezTo>
                    <a:pt x="44" y="173"/>
                    <a:pt x="47" y="180"/>
                    <a:pt x="52" y="179"/>
                  </a:cubicBezTo>
                  <a:cubicBezTo>
                    <a:pt x="90" y="175"/>
                    <a:pt x="115" y="130"/>
                    <a:pt x="117" y="95"/>
                  </a:cubicBezTo>
                  <a:cubicBezTo>
                    <a:pt x="119" y="54"/>
                    <a:pt x="94" y="14"/>
                    <a:pt x="55" y="2"/>
                  </a:cubicBezTo>
                  <a:cubicBezTo>
                    <a:pt x="54" y="2"/>
                    <a:pt x="53" y="2"/>
                    <a:pt x="52" y="2"/>
                  </a:cubicBezTo>
                  <a:cubicBezTo>
                    <a:pt x="49" y="0"/>
                    <a:pt x="44" y="0"/>
                    <a:pt x="42" y="3"/>
                  </a:cubicBezTo>
                  <a:cubicBezTo>
                    <a:pt x="31" y="24"/>
                    <a:pt x="1" y="21"/>
                    <a:pt x="0" y="50"/>
                  </a:cubicBez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1" name="Freeform 95">
              <a:extLst>
                <a:ext uri="{FF2B5EF4-FFF2-40B4-BE49-F238E27FC236}">
                  <a16:creationId xmlns:a16="http://schemas.microsoft.com/office/drawing/2014/main" id="{53CCA7BA-D165-E82C-4A9F-3AC12F3F8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622" y="4971541"/>
              <a:ext cx="355840" cy="436261"/>
            </a:xfrm>
            <a:custGeom>
              <a:avLst/>
              <a:gdLst>
                <a:gd name="T0" fmla="*/ 510 w 1969"/>
                <a:gd name="T1" fmla="*/ 57 h 2414"/>
                <a:gd name="T2" fmla="*/ 1494 w 1969"/>
                <a:gd name="T3" fmla="*/ 0 h 2414"/>
                <a:gd name="T4" fmla="*/ 1746 w 1969"/>
                <a:gd name="T5" fmla="*/ 1081 h 2414"/>
                <a:gd name="T6" fmla="*/ 1969 w 1969"/>
                <a:gd name="T7" fmla="*/ 2414 h 2414"/>
                <a:gd name="T8" fmla="*/ 0 w 1969"/>
                <a:gd name="T9" fmla="*/ 2365 h 2414"/>
                <a:gd name="T10" fmla="*/ 510 w 1969"/>
                <a:gd name="T11" fmla="*/ 57 h 2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9" h="2414">
                  <a:moveTo>
                    <a:pt x="510" y="57"/>
                  </a:moveTo>
                  <a:lnTo>
                    <a:pt x="1494" y="0"/>
                  </a:lnTo>
                  <a:lnTo>
                    <a:pt x="1746" y="1081"/>
                  </a:lnTo>
                  <a:lnTo>
                    <a:pt x="1969" y="2414"/>
                  </a:lnTo>
                  <a:lnTo>
                    <a:pt x="0" y="2365"/>
                  </a:lnTo>
                  <a:lnTo>
                    <a:pt x="510" y="57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2" name="Freeform 96">
              <a:extLst>
                <a:ext uri="{FF2B5EF4-FFF2-40B4-BE49-F238E27FC236}">
                  <a16:creationId xmlns:a16="http://schemas.microsoft.com/office/drawing/2014/main" id="{15F5CFC6-5BAE-7B62-2972-B26F5590F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599" y="4931421"/>
              <a:ext cx="239636" cy="664873"/>
            </a:xfrm>
            <a:custGeom>
              <a:avLst/>
              <a:gdLst>
                <a:gd name="T0" fmla="*/ 555 w 561"/>
                <a:gd name="T1" fmla="*/ 594 h 1556"/>
                <a:gd name="T2" fmla="*/ 477 w 561"/>
                <a:gd name="T3" fmla="*/ 307 h 1556"/>
                <a:gd name="T4" fmla="*/ 437 w 561"/>
                <a:gd name="T5" fmla="*/ 161 h 1556"/>
                <a:gd name="T6" fmla="*/ 393 w 561"/>
                <a:gd name="T7" fmla="*/ 5 h 1556"/>
                <a:gd name="T8" fmla="*/ 385 w 561"/>
                <a:gd name="T9" fmla="*/ 1 h 1556"/>
                <a:gd name="T10" fmla="*/ 380 w 561"/>
                <a:gd name="T11" fmla="*/ 1 h 1556"/>
                <a:gd name="T12" fmla="*/ 211 w 561"/>
                <a:gd name="T13" fmla="*/ 58 h 1556"/>
                <a:gd name="T14" fmla="*/ 138 w 561"/>
                <a:gd name="T15" fmla="*/ 91 h 1556"/>
                <a:gd name="T16" fmla="*/ 66 w 561"/>
                <a:gd name="T17" fmla="*/ 132 h 1556"/>
                <a:gd name="T18" fmla="*/ 57 w 561"/>
                <a:gd name="T19" fmla="*/ 138 h 1556"/>
                <a:gd name="T20" fmla="*/ 60 w 561"/>
                <a:gd name="T21" fmla="*/ 673 h 1556"/>
                <a:gd name="T22" fmla="*/ 32 w 561"/>
                <a:gd name="T23" fmla="*/ 1202 h 1556"/>
                <a:gd name="T24" fmla="*/ 0 w 561"/>
                <a:gd name="T25" fmla="*/ 1513 h 1556"/>
                <a:gd name="T26" fmla="*/ 267 w 561"/>
                <a:gd name="T27" fmla="*/ 1556 h 1556"/>
                <a:gd name="T28" fmla="*/ 257 w 561"/>
                <a:gd name="T29" fmla="*/ 1297 h 1556"/>
                <a:gd name="T30" fmla="*/ 232 w 561"/>
                <a:gd name="T31" fmla="*/ 1162 h 1556"/>
                <a:gd name="T32" fmla="*/ 243 w 561"/>
                <a:gd name="T33" fmla="*/ 1099 h 1556"/>
                <a:gd name="T34" fmla="*/ 275 w 561"/>
                <a:gd name="T35" fmla="*/ 1054 h 1556"/>
                <a:gd name="T36" fmla="*/ 395 w 561"/>
                <a:gd name="T37" fmla="*/ 892 h 1556"/>
                <a:gd name="T38" fmla="*/ 501 w 561"/>
                <a:gd name="T39" fmla="*/ 747 h 1556"/>
                <a:gd name="T40" fmla="*/ 559 w 561"/>
                <a:gd name="T41" fmla="*/ 599 h 1556"/>
                <a:gd name="T42" fmla="*/ 555 w 561"/>
                <a:gd name="T43" fmla="*/ 594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1" h="1556">
                  <a:moveTo>
                    <a:pt x="555" y="594"/>
                  </a:moveTo>
                  <a:cubicBezTo>
                    <a:pt x="530" y="498"/>
                    <a:pt x="503" y="403"/>
                    <a:pt x="477" y="307"/>
                  </a:cubicBezTo>
                  <a:cubicBezTo>
                    <a:pt x="463" y="258"/>
                    <a:pt x="450" y="210"/>
                    <a:pt x="437" y="161"/>
                  </a:cubicBezTo>
                  <a:cubicBezTo>
                    <a:pt x="423" y="109"/>
                    <a:pt x="412" y="55"/>
                    <a:pt x="393" y="5"/>
                  </a:cubicBezTo>
                  <a:cubicBezTo>
                    <a:pt x="392" y="2"/>
                    <a:pt x="388" y="1"/>
                    <a:pt x="385" y="1"/>
                  </a:cubicBezTo>
                  <a:cubicBezTo>
                    <a:pt x="384" y="1"/>
                    <a:pt x="382" y="0"/>
                    <a:pt x="380" y="1"/>
                  </a:cubicBezTo>
                  <a:cubicBezTo>
                    <a:pt x="322" y="11"/>
                    <a:pt x="265" y="35"/>
                    <a:pt x="211" y="58"/>
                  </a:cubicBezTo>
                  <a:cubicBezTo>
                    <a:pt x="186" y="68"/>
                    <a:pt x="162" y="79"/>
                    <a:pt x="138" y="91"/>
                  </a:cubicBezTo>
                  <a:cubicBezTo>
                    <a:pt x="114" y="103"/>
                    <a:pt x="85" y="114"/>
                    <a:pt x="66" y="132"/>
                  </a:cubicBezTo>
                  <a:cubicBezTo>
                    <a:pt x="62" y="130"/>
                    <a:pt x="57" y="132"/>
                    <a:pt x="57" y="138"/>
                  </a:cubicBezTo>
                  <a:cubicBezTo>
                    <a:pt x="61" y="316"/>
                    <a:pt x="64" y="494"/>
                    <a:pt x="60" y="673"/>
                  </a:cubicBezTo>
                  <a:cubicBezTo>
                    <a:pt x="56" y="850"/>
                    <a:pt x="47" y="1026"/>
                    <a:pt x="32" y="1202"/>
                  </a:cubicBezTo>
                  <a:cubicBezTo>
                    <a:pt x="23" y="1306"/>
                    <a:pt x="12" y="1410"/>
                    <a:pt x="0" y="1513"/>
                  </a:cubicBezTo>
                  <a:cubicBezTo>
                    <a:pt x="0" y="1520"/>
                    <a:pt x="245" y="1553"/>
                    <a:pt x="267" y="1556"/>
                  </a:cubicBezTo>
                  <a:cubicBezTo>
                    <a:pt x="268" y="1472"/>
                    <a:pt x="249" y="1381"/>
                    <a:pt x="257" y="1297"/>
                  </a:cubicBezTo>
                  <a:cubicBezTo>
                    <a:pt x="261" y="1252"/>
                    <a:pt x="226" y="1207"/>
                    <a:pt x="232" y="1162"/>
                  </a:cubicBezTo>
                  <a:cubicBezTo>
                    <a:pt x="235" y="1141"/>
                    <a:pt x="239" y="1120"/>
                    <a:pt x="243" y="1099"/>
                  </a:cubicBezTo>
                  <a:cubicBezTo>
                    <a:pt x="253" y="1084"/>
                    <a:pt x="264" y="1069"/>
                    <a:pt x="275" y="1054"/>
                  </a:cubicBezTo>
                  <a:cubicBezTo>
                    <a:pt x="315" y="1000"/>
                    <a:pt x="355" y="946"/>
                    <a:pt x="395" y="892"/>
                  </a:cubicBezTo>
                  <a:cubicBezTo>
                    <a:pt x="430" y="844"/>
                    <a:pt x="467" y="797"/>
                    <a:pt x="501" y="747"/>
                  </a:cubicBezTo>
                  <a:cubicBezTo>
                    <a:pt x="530" y="705"/>
                    <a:pt x="561" y="652"/>
                    <a:pt x="559" y="599"/>
                  </a:cubicBezTo>
                  <a:cubicBezTo>
                    <a:pt x="559" y="596"/>
                    <a:pt x="557" y="595"/>
                    <a:pt x="555" y="594"/>
                  </a:cubicBezTo>
                  <a:close/>
                </a:path>
              </a:pathLst>
            </a:custGeom>
            <a:solidFill>
              <a:srgbClr val="353D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3" name="Freeform 97">
              <a:extLst>
                <a:ext uri="{FF2B5EF4-FFF2-40B4-BE49-F238E27FC236}">
                  <a16:creationId xmlns:a16="http://schemas.microsoft.com/office/drawing/2014/main" id="{4B880E9E-FB91-E590-84B0-19F03F640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1584" y="4932686"/>
              <a:ext cx="139697" cy="481260"/>
            </a:xfrm>
            <a:custGeom>
              <a:avLst/>
              <a:gdLst>
                <a:gd name="T0" fmla="*/ 6 w 327"/>
                <a:gd name="T1" fmla="*/ 13 h 1126"/>
                <a:gd name="T2" fmla="*/ 7 w 327"/>
                <a:gd name="T3" fmla="*/ 13 h 1126"/>
                <a:gd name="T4" fmla="*/ 139 w 327"/>
                <a:gd name="T5" fmla="*/ 425 h 1126"/>
                <a:gd name="T6" fmla="*/ 170 w 327"/>
                <a:gd name="T7" fmla="*/ 764 h 1126"/>
                <a:gd name="T8" fmla="*/ 172 w 327"/>
                <a:gd name="T9" fmla="*/ 767 h 1126"/>
                <a:gd name="T10" fmla="*/ 287 w 327"/>
                <a:gd name="T11" fmla="*/ 1126 h 1126"/>
                <a:gd name="T12" fmla="*/ 290 w 327"/>
                <a:gd name="T13" fmla="*/ 1117 h 1126"/>
                <a:gd name="T14" fmla="*/ 292 w 327"/>
                <a:gd name="T15" fmla="*/ 1112 h 1126"/>
                <a:gd name="T16" fmla="*/ 305 w 327"/>
                <a:gd name="T17" fmla="*/ 617 h 1126"/>
                <a:gd name="T18" fmla="*/ 311 w 327"/>
                <a:gd name="T19" fmla="*/ 375 h 1126"/>
                <a:gd name="T20" fmla="*/ 314 w 327"/>
                <a:gd name="T21" fmla="*/ 254 h 1126"/>
                <a:gd name="T22" fmla="*/ 317 w 327"/>
                <a:gd name="T23" fmla="*/ 162 h 1126"/>
                <a:gd name="T24" fmla="*/ 320 w 327"/>
                <a:gd name="T25" fmla="*/ 159 h 1126"/>
                <a:gd name="T26" fmla="*/ 296 w 327"/>
                <a:gd name="T27" fmla="*/ 113 h 1126"/>
                <a:gd name="T28" fmla="*/ 200 w 327"/>
                <a:gd name="T29" fmla="*/ 61 h 1126"/>
                <a:gd name="T30" fmla="*/ 18 w 327"/>
                <a:gd name="T31" fmla="*/ 2 h 1126"/>
                <a:gd name="T32" fmla="*/ 11 w 327"/>
                <a:gd name="T33" fmla="*/ 1 h 1126"/>
                <a:gd name="T34" fmla="*/ 7 w 327"/>
                <a:gd name="T35" fmla="*/ 1 h 1126"/>
                <a:gd name="T36" fmla="*/ 6 w 327"/>
                <a:gd name="T37" fmla="*/ 13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7" h="1126">
                  <a:moveTo>
                    <a:pt x="6" y="13"/>
                  </a:moveTo>
                  <a:cubicBezTo>
                    <a:pt x="6" y="13"/>
                    <a:pt x="6" y="13"/>
                    <a:pt x="7" y="13"/>
                  </a:cubicBezTo>
                  <a:cubicBezTo>
                    <a:pt x="38" y="158"/>
                    <a:pt x="112" y="280"/>
                    <a:pt x="139" y="425"/>
                  </a:cubicBezTo>
                  <a:cubicBezTo>
                    <a:pt x="159" y="532"/>
                    <a:pt x="162" y="650"/>
                    <a:pt x="170" y="764"/>
                  </a:cubicBezTo>
                  <a:cubicBezTo>
                    <a:pt x="172" y="767"/>
                    <a:pt x="172" y="767"/>
                    <a:pt x="172" y="767"/>
                  </a:cubicBezTo>
                  <a:cubicBezTo>
                    <a:pt x="172" y="767"/>
                    <a:pt x="203" y="978"/>
                    <a:pt x="287" y="1126"/>
                  </a:cubicBezTo>
                  <a:cubicBezTo>
                    <a:pt x="290" y="1125"/>
                    <a:pt x="292" y="1121"/>
                    <a:pt x="290" y="1117"/>
                  </a:cubicBezTo>
                  <a:cubicBezTo>
                    <a:pt x="291" y="1116"/>
                    <a:pt x="292" y="1114"/>
                    <a:pt x="292" y="1112"/>
                  </a:cubicBezTo>
                  <a:cubicBezTo>
                    <a:pt x="297" y="947"/>
                    <a:pt x="300" y="782"/>
                    <a:pt x="305" y="617"/>
                  </a:cubicBezTo>
                  <a:cubicBezTo>
                    <a:pt x="307" y="537"/>
                    <a:pt x="309" y="456"/>
                    <a:pt x="311" y="375"/>
                  </a:cubicBezTo>
                  <a:cubicBezTo>
                    <a:pt x="312" y="335"/>
                    <a:pt x="313" y="294"/>
                    <a:pt x="314" y="254"/>
                  </a:cubicBezTo>
                  <a:cubicBezTo>
                    <a:pt x="314" y="225"/>
                    <a:pt x="318" y="192"/>
                    <a:pt x="317" y="162"/>
                  </a:cubicBezTo>
                  <a:cubicBezTo>
                    <a:pt x="318" y="161"/>
                    <a:pt x="320" y="161"/>
                    <a:pt x="320" y="159"/>
                  </a:cubicBezTo>
                  <a:cubicBezTo>
                    <a:pt x="327" y="139"/>
                    <a:pt x="311" y="124"/>
                    <a:pt x="296" y="113"/>
                  </a:cubicBezTo>
                  <a:cubicBezTo>
                    <a:pt x="267" y="92"/>
                    <a:pt x="233" y="76"/>
                    <a:pt x="200" y="61"/>
                  </a:cubicBezTo>
                  <a:cubicBezTo>
                    <a:pt x="144" y="36"/>
                    <a:pt x="80" y="10"/>
                    <a:pt x="18" y="2"/>
                  </a:cubicBezTo>
                  <a:cubicBezTo>
                    <a:pt x="16" y="1"/>
                    <a:pt x="13" y="0"/>
                    <a:pt x="11" y="1"/>
                  </a:cubicBezTo>
                  <a:cubicBezTo>
                    <a:pt x="10" y="1"/>
                    <a:pt x="8" y="1"/>
                    <a:pt x="7" y="1"/>
                  </a:cubicBezTo>
                  <a:cubicBezTo>
                    <a:pt x="0" y="0"/>
                    <a:pt x="0" y="11"/>
                    <a:pt x="6" y="13"/>
                  </a:cubicBezTo>
                  <a:close/>
                </a:path>
              </a:pathLst>
            </a:custGeom>
            <a:solidFill>
              <a:srgbClr val="353D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4" name="Freeform 98">
              <a:extLst>
                <a:ext uri="{FF2B5EF4-FFF2-40B4-BE49-F238E27FC236}">
                  <a16:creationId xmlns:a16="http://schemas.microsoft.com/office/drawing/2014/main" id="{B3A7D7F3-0619-6806-A749-C15BBFAD5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234" y="4994312"/>
              <a:ext cx="93975" cy="510537"/>
            </a:xfrm>
            <a:custGeom>
              <a:avLst/>
              <a:gdLst>
                <a:gd name="T0" fmla="*/ 193 w 220"/>
                <a:gd name="T1" fmla="*/ 1016 h 1195"/>
                <a:gd name="T2" fmla="*/ 212 w 220"/>
                <a:gd name="T3" fmla="*/ 894 h 1195"/>
                <a:gd name="T4" fmla="*/ 214 w 220"/>
                <a:gd name="T5" fmla="*/ 890 h 1195"/>
                <a:gd name="T6" fmla="*/ 208 w 220"/>
                <a:gd name="T7" fmla="*/ 773 h 1195"/>
                <a:gd name="T8" fmla="*/ 201 w 220"/>
                <a:gd name="T9" fmla="*/ 672 h 1195"/>
                <a:gd name="T10" fmla="*/ 181 w 220"/>
                <a:gd name="T11" fmla="*/ 548 h 1195"/>
                <a:gd name="T12" fmla="*/ 166 w 220"/>
                <a:gd name="T13" fmla="*/ 421 h 1195"/>
                <a:gd name="T14" fmla="*/ 149 w 220"/>
                <a:gd name="T15" fmla="*/ 277 h 1195"/>
                <a:gd name="T16" fmla="*/ 113 w 220"/>
                <a:gd name="T17" fmla="*/ 5 h 1195"/>
                <a:gd name="T18" fmla="*/ 109 w 220"/>
                <a:gd name="T19" fmla="*/ 3 h 1195"/>
                <a:gd name="T20" fmla="*/ 103 w 220"/>
                <a:gd name="T21" fmla="*/ 4 h 1195"/>
                <a:gd name="T22" fmla="*/ 99 w 220"/>
                <a:gd name="T23" fmla="*/ 103 h 1195"/>
                <a:gd name="T24" fmla="*/ 88 w 220"/>
                <a:gd name="T25" fmla="*/ 201 h 1195"/>
                <a:gd name="T26" fmla="*/ 93 w 220"/>
                <a:gd name="T27" fmla="*/ 205 h 1195"/>
                <a:gd name="T28" fmla="*/ 78 w 220"/>
                <a:gd name="T29" fmla="*/ 370 h 1195"/>
                <a:gd name="T30" fmla="*/ 65 w 220"/>
                <a:gd name="T31" fmla="*/ 565 h 1195"/>
                <a:gd name="T32" fmla="*/ 50 w 220"/>
                <a:gd name="T33" fmla="*/ 954 h 1195"/>
                <a:gd name="T34" fmla="*/ 0 w 220"/>
                <a:gd name="T35" fmla="*/ 1195 h 1195"/>
                <a:gd name="T36" fmla="*/ 141 w 220"/>
                <a:gd name="T37" fmla="*/ 1109 h 1195"/>
                <a:gd name="T38" fmla="*/ 193 w 220"/>
                <a:gd name="T39" fmla="*/ 1016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0" h="1195">
                  <a:moveTo>
                    <a:pt x="193" y="1016"/>
                  </a:moveTo>
                  <a:cubicBezTo>
                    <a:pt x="205" y="978"/>
                    <a:pt x="212" y="935"/>
                    <a:pt x="212" y="894"/>
                  </a:cubicBezTo>
                  <a:cubicBezTo>
                    <a:pt x="213" y="893"/>
                    <a:pt x="214" y="892"/>
                    <a:pt x="214" y="890"/>
                  </a:cubicBezTo>
                  <a:cubicBezTo>
                    <a:pt x="214" y="851"/>
                    <a:pt x="211" y="812"/>
                    <a:pt x="208" y="773"/>
                  </a:cubicBezTo>
                  <a:cubicBezTo>
                    <a:pt x="207" y="739"/>
                    <a:pt x="205" y="705"/>
                    <a:pt x="201" y="672"/>
                  </a:cubicBezTo>
                  <a:cubicBezTo>
                    <a:pt x="220" y="636"/>
                    <a:pt x="209" y="577"/>
                    <a:pt x="181" y="548"/>
                  </a:cubicBezTo>
                  <a:cubicBezTo>
                    <a:pt x="180" y="506"/>
                    <a:pt x="171" y="462"/>
                    <a:pt x="166" y="421"/>
                  </a:cubicBezTo>
                  <a:cubicBezTo>
                    <a:pt x="160" y="373"/>
                    <a:pt x="155" y="325"/>
                    <a:pt x="149" y="277"/>
                  </a:cubicBezTo>
                  <a:cubicBezTo>
                    <a:pt x="138" y="187"/>
                    <a:pt x="132" y="94"/>
                    <a:pt x="113" y="5"/>
                  </a:cubicBezTo>
                  <a:cubicBezTo>
                    <a:pt x="112" y="3"/>
                    <a:pt x="111" y="2"/>
                    <a:pt x="109" y="3"/>
                  </a:cubicBezTo>
                  <a:cubicBezTo>
                    <a:pt x="108" y="0"/>
                    <a:pt x="103" y="0"/>
                    <a:pt x="103" y="4"/>
                  </a:cubicBezTo>
                  <a:cubicBezTo>
                    <a:pt x="102" y="37"/>
                    <a:pt x="102" y="70"/>
                    <a:pt x="99" y="103"/>
                  </a:cubicBezTo>
                  <a:cubicBezTo>
                    <a:pt x="97" y="136"/>
                    <a:pt x="88" y="169"/>
                    <a:pt x="88" y="201"/>
                  </a:cubicBezTo>
                  <a:cubicBezTo>
                    <a:pt x="88" y="204"/>
                    <a:pt x="91" y="205"/>
                    <a:pt x="93" y="205"/>
                  </a:cubicBezTo>
                  <a:cubicBezTo>
                    <a:pt x="85" y="260"/>
                    <a:pt x="83" y="315"/>
                    <a:pt x="78" y="370"/>
                  </a:cubicBezTo>
                  <a:cubicBezTo>
                    <a:pt x="73" y="435"/>
                    <a:pt x="69" y="500"/>
                    <a:pt x="65" y="565"/>
                  </a:cubicBezTo>
                  <a:cubicBezTo>
                    <a:pt x="58" y="694"/>
                    <a:pt x="52" y="824"/>
                    <a:pt x="50" y="954"/>
                  </a:cubicBezTo>
                  <a:cubicBezTo>
                    <a:pt x="50" y="959"/>
                    <a:pt x="0" y="1195"/>
                    <a:pt x="0" y="1195"/>
                  </a:cubicBezTo>
                  <a:cubicBezTo>
                    <a:pt x="0" y="1195"/>
                    <a:pt x="111" y="1128"/>
                    <a:pt x="141" y="1109"/>
                  </a:cubicBezTo>
                  <a:cubicBezTo>
                    <a:pt x="162" y="1090"/>
                    <a:pt x="184" y="1046"/>
                    <a:pt x="193" y="1016"/>
                  </a:cubicBezTo>
                  <a:close/>
                </a:path>
              </a:pathLst>
            </a:custGeom>
            <a:solidFill>
              <a:srgbClr val="353D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5" name="Freeform 99">
              <a:extLst>
                <a:ext uri="{FF2B5EF4-FFF2-40B4-BE49-F238E27FC236}">
                  <a16:creationId xmlns:a16="http://schemas.microsoft.com/office/drawing/2014/main" id="{EF5D1F1B-A6D6-6922-F38D-A1BBF1B8D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150" y="4936120"/>
              <a:ext cx="101746" cy="286804"/>
            </a:xfrm>
            <a:custGeom>
              <a:avLst/>
              <a:gdLst>
                <a:gd name="T0" fmla="*/ 236 w 238"/>
                <a:gd name="T1" fmla="*/ 165 h 671"/>
                <a:gd name="T2" fmla="*/ 159 w 238"/>
                <a:gd name="T3" fmla="*/ 130 h 671"/>
                <a:gd name="T4" fmla="*/ 181 w 238"/>
                <a:gd name="T5" fmla="*/ 88 h 671"/>
                <a:gd name="T6" fmla="*/ 182 w 238"/>
                <a:gd name="T7" fmla="*/ 80 h 671"/>
                <a:gd name="T8" fmla="*/ 178 w 238"/>
                <a:gd name="T9" fmla="*/ 77 h 671"/>
                <a:gd name="T10" fmla="*/ 12 w 238"/>
                <a:gd name="T11" fmla="*/ 3 h 671"/>
                <a:gd name="T12" fmla="*/ 7 w 238"/>
                <a:gd name="T13" fmla="*/ 13 h 671"/>
                <a:gd name="T14" fmla="*/ 14 w 238"/>
                <a:gd name="T15" fmla="*/ 17 h 671"/>
                <a:gd name="T16" fmla="*/ 66 w 238"/>
                <a:gd name="T17" fmla="*/ 184 h 671"/>
                <a:gd name="T18" fmla="*/ 114 w 238"/>
                <a:gd name="T19" fmla="*/ 332 h 671"/>
                <a:gd name="T20" fmla="*/ 131 w 238"/>
                <a:gd name="T21" fmla="*/ 486 h 671"/>
                <a:gd name="T22" fmla="*/ 165 w 238"/>
                <a:gd name="T23" fmla="*/ 667 h 671"/>
                <a:gd name="T24" fmla="*/ 170 w 238"/>
                <a:gd name="T25" fmla="*/ 671 h 671"/>
                <a:gd name="T26" fmla="*/ 175 w 238"/>
                <a:gd name="T27" fmla="*/ 667 h 671"/>
                <a:gd name="T28" fmla="*/ 175 w 238"/>
                <a:gd name="T29" fmla="*/ 667 h 671"/>
                <a:gd name="T30" fmla="*/ 176 w 238"/>
                <a:gd name="T31" fmla="*/ 666 h 671"/>
                <a:gd name="T32" fmla="*/ 207 w 238"/>
                <a:gd name="T33" fmla="*/ 414 h 671"/>
                <a:gd name="T34" fmla="*/ 236 w 238"/>
                <a:gd name="T35" fmla="*/ 170 h 671"/>
                <a:gd name="T36" fmla="*/ 236 w 238"/>
                <a:gd name="T37" fmla="*/ 165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8" h="671">
                  <a:moveTo>
                    <a:pt x="236" y="165"/>
                  </a:moveTo>
                  <a:cubicBezTo>
                    <a:pt x="214" y="150"/>
                    <a:pt x="185" y="140"/>
                    <a:pt x="159" y="130"/>
                  </a:cubicBezTo>
                  <a:cubicBezTo>
                    <a:pt x="167" y="116"/>
                    <a:pt x="174" y="102"/>
                    <a:pt x="181" y="88"/>
                  </a:cubicBezTo>
                  <a:cubicBezTo>
                    <a:pt x="184" y="86"/>
                    <a:pt x="185" y="82"/>
                    <a:pt x="182" y="80"/>
                  </a:cubicBezTo>
                  <a:cubicBezTo>
                    <a:pt x="181" y="78"/>
                    <a:pt x="179" y="77"/>
                    <a:pt x="178" y="77"/>
                  </a:cubicBezTo>
                  <a:cubicBezTo>
                    <a:pt x="123" y="52"/>
                    <a:pt x="67" y="27"/>
                    <a:pt x="12" y="3"/>
                  </a:cubicBezTo>
                  <a:cubicBezTo>
                    <a:pt x="5" y="0"/>
                    <a:pt x="0" y="10"/>
                    <a:pt x="7" y="13"/>
                  </a:cubicBezTo>
                  <a:cubicBezTo>
                    <a:pt x="9" y="15"/>
                    <a:pt x="12" y="16"/>
                    <a:pt x="14" y="17"/>
                  </a:cubicBezTo>
                  <a:cubicBezTo>
                    <a:pt x="29" y="73"/>
                    <a:pt x="48" y="128"/>
                    <a:pt x="66" y="184"/>
                  </a:cubicBezTo>
                  <a:cubicBezTo>
                    <a:pt x="82" y="233"/>
                    <a:pt x="97" y="283"/>
                    <a:pt x="114" y="332"/>
                  </a:cubicBezTo>
                  <a:cubicBezTo>
                    <a:pt x="115" y="383"/>
                    <a:pt x="123" y="436"/>
                    <a:pt x="131" y="486"/>
                  </a:cubicBezTo>
                  <a:cubicBezTo>
                    <a:pt x="139" y="547"/>
                    <a:pt x="150" y="608"/>
                    <a:pt x="165" y="667"/>
                  </a:cubicBezTo>
                  <a:cubicBezTo>
                    <a:pt x="166" y="670"/>
                    <a:pt x="168" y="671"/>
                    <a:pt x="170" y="671"/>
                  </a:cubicBezTo>
                  <a:cubicBezTo>
                    <a:pt x="172" y="671"/>
                    <a:pt x="175" y="670"/>
                    <a:pt x="175" y="667"/>
                  </a:cubicBezTo>
                  <a:cubicBezTo>
                    <a:pt x="175" y="667"/>
                    <a:pt x="175" y="667"/>
                    <a:pt x="175" y="667"/>
                  </a:cubicBezTo>
                  <a:cubicBezTo>
                    <a:pt x="175" y="666"/>
                    <a:pt x="176" y="666"/>
                    <a:pt x="176" y="666"/>
                  </a:cubicBezTo>
                  <a:cubicBezTo>
                    <a:pt x="189" y="582"/>
                    <a:pt x="197" y="498"/>
                    <a:pt x="207" y="414"/>
                  </a:cubicBezTo>
                  <a:cubicBezTo>
                    <a:pt x="217" y="334"/>
                    <a:pt x="232" y="252"/>
                    <a:pt x="236" y="170"/>
                  </a:cubicBezTo>
                  <a:cubicBezTo>
                    <a:pt x="237" y="169"/>
                    <a:pt x="238" y="167"/>
                    <a:pt x="236" y="165"/>
                  </a:cubicBezTo>
                  <a:close/>
                </a:path>
              </a:pathLst>
            </a:custGeom>
            <a:solidFill>
              <a:srgbClr val="2C3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6" name="Freeform 100">
              <a:extLst>
                <a:ext uri="{FF2B5EF4-FFF2-40B4-BE49-F238E27FC236}">
                  <a16:creationId xmlns:a16="http://schemas.microsoft.com/office/drawing/2014/main" id="{C6D4B242-CE53-9690-AFFF-0D6DAEF90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366" y="5338224"/>
              <a:ext cx="48975" cy="71746"/>
            </a:xfrm>
            <a:custGeom>
              <a:avLst/>
              <a:gdLst>
                <a:gd name="T0" fmla="*/ 115 w 115"/>
                <a:gd name="T1" fmla="*/ 168 h 168"/>
                <a:gd name="T2" fmla="*/ 74 w 115"/>
                <a:gd name="T3" fmla="*/ 56 h 168"/>
                <a:gd name="T4" fmla="*/ 0 w 115"/>
                <a:gd name="T5" fmla="*/ 0 h 168"/>
                <a:gd name="T6" fmla="*/ 0 w 115"/>
                <a:gd name="T7" fmla="*/ 66 h 168"/>
                <a:gd name="T8" fmla="*/ 115 w 115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68">
                  <a:moveTo>
                    <a:pt x="115" y="168"/>
                  </a:moveTo>
                  <a:cubicBezTo>
                    <a:pt x="115" y="168"/>
                    <a:pt x="99" y="92"/>
                    <a:pt x="74" y="56"/>
                  </a:cubicBezTo>
                  <a:cubicBezTo>
                    <a:pt x="49" y="21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59" y="82"/>
                    <a:pt x="115" y="168"/>
                  </a:cubicBezTo>
                  <a:close/>
                </a:path>
              </a:pathLst>
            </a:custGeom>
            <a:solidFill>
              <a:srgbClr val="3138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7" name="Freeform 101">
              <a:extLst>
                <a:ext uri="{FF2B5EF4-FFF2-40B4-BE49-F238E27FC236}">
                  <a16:creationId xmlns:a16="http://schemas.microsoft.com/office/drawing/2014/main" id="{34DC9231-AE96-D86C-1C24-DE70B523E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257" y="5240454"/>
              <a:ext cx="50421" cy="42289"/>
            </a:xfrm>
            <a:custGeom>
              <a:avLst/>
              <a:gdLst>
                <a:gd name="T0" fmla="*/ 116 w 118"/>
                <a:gd name="T1" fmla="*/ 82 h 99"/>
                <a:gd name="T2" fmla="*/ 118 w 118"/>
                <a:gd name="T3" fmla="*/ 99 h 99"/>
                <a:gd name="T4" fmla="*/ 50 w 118"/>
                <a:gd name="T5" fmla="*/ 69 h 99"/>
                <a:gd name="T6" fmla="*/ 0 w 118"/>
                <a:gd name="T7" fmla="*/ 64 h 99"/>
                <a:gd name="T8" fmla="*/ 4 w 118"/>
                <a:gd name="T9" fmla="*/ 0 h 99"/>
                <a:gd name="T10" fmla="*/ 116 w 118"/>
                <a:gd name="T11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99">
                  <a:moveTo>
                    <a:pt x="116" y="82"/>
                  </a:moveTo>
                  <a:cubicBezTo>
                    <a:pt x="118" y="99"/>
                    <a:pt x="118" y="99"/>
                    <a:pt x="118" y="99"/>
                  </a:cubicBezTo>
                  <a:cubicBezTo>
                    <a:pt x="118" y="99"/>
                    <a:pt x="83" y="76"/>
                    <a:pt x="50" y="69"/>
                  </a:cubicBezTo>
                  <a:cubicBezTo>
                    <a:pt x="17" y="62"/>
                    <a:pt x="0" y="64"/>
                    <a:pt x="0" y="6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78" y="12"/>
                    <a:pt x="116" y="82"/>
                  </a:cubicBezTo>
                  <a:close/>
                </a:path>
              </a:pathLst>
            </a:custGeom>
            <a:solidFill>
              <a:srgbClr val="3138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8" name="Freeform 102">
              <a:extLst>
                <a:ext uri="{FF2B5EF4-FFF2-40B4-BE49-F238E27FC236}">
                  <a16:creationId xmlns:a16="http://schemas.microsoft.com/office/drawing/2014/main" id="{83E92F7F-074D-93AD-130F-9C5DF7558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249" y="5397682"/>
              <a:ext cx="336141" cy="787402"/>
            </a:xfrm>
            <a:custGeom>
              <a:avLst/>
              <a:gdLst>
                <a:gd name="T0" fmla="*/ 754 w 787"/>
                <a:gd name="T1" fmla="*/ 11 h 1843"/>
                <a:gd name="T2" fmla="*/ 321 w 787"/>
                <a:gd name="T3" fmla="*/ 12 h 1843"/>
                <a:gd name="T4" fmla="*/ 1 w 787"/>
                <a:gd name="T5" fmla="*/ 13 h 1843"/>
                <a:gd name="T6" fmla="*/ 61 w 787"/>
                <a:gd name="T7" fmla="*/ 829 h 1843"/>
                <a:gd name="T8" fmla="*/ 98 w 787"/>
                <a:gd name="T9" fmla="*/ 1823 h 1843"/>
                <a:gd name="T10" fmla="*/ 326 w 787"/>
                <a:gd name="T11" fmla="*/ 1834 h 1843"/>
                <a:gd name="T12" fmla="*/ 350 w 787"/>
                <a:gd name="T13" fmla="*/ 1704 h 1843"/>
                <a:gd name="T14" fmla="*/ 365 w 787"/>
                <a:gd name="T15" fmla="*/ 1279 h 1843"/>
                <a:gd name="T16" fmla="*/ 366 w 787"/>
                <a:gd name="T17" fmla="*/ 1272 h 1843"/>
                <a:gd name="T18" fmla="*/ 422 w 787"/>
                <a:gd name="T19" fmla="*/ 520 h 1843"/>
                <a:gd name="T20" fmla="*/ 450 w 787"/>
                <a:gd name="T21" fmla="*/ 643 h 1843"/>
                <a:gd name="T22" fmla="*/ 459 w 787"/>
                <a:gd name="T23" fmla="*/ 1816 h 1843"/>
                <a:gd name="T24" fmla="*/ 459 w 787"/>
                <a:gd name="T25" fmla="*/ 1817 h 1843"/>
                <a:gd name="T26" fmla="*/ 462 w 787"/>
                <a:gd name="T27" fmla="*/ 1827 h 1843"/>
                <a:gd name="T28" fmla="*/ 593 w 787"/>
                <a:gd name="T29" fmla="*/ 1827 h 1843"/>
                <a:gd name="T30" fmla="*/ 712 w 787"/>
                <a:gd name="T31" fmla="*/ 1778 h 1843"/>
                <a:gd name="T32" fmla="*/ 780 w 787"/>
                <a:gd name="T33" fmla="*/ 1015 h 1843"/>
                <a:gd name="T34" fmla="*/ 754 w 787"/>
                <a:gd name="T35" fmla="*/ 162 h 1843"/>
                <a:gd name="T36" fmla="*/ 754 w 787"/>
                <a:gd name="T37" fmla="*/ 11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7" h="1843">
                  <a:moveTo>
                    <a:pt x="754" y="11"/>
                  </a:moveTo>
                  <a:cubicBezTo>
                    <a:pt x="619" y="0"/>
                    <a:pt x="456" y="17"/>
                    <a:pt x="321" y="12"/>
                  </a:cubicBezTo>
                  <a:cubicBezTo>
                    <a:pt x="214" y="8"/>
                    <a:pt x="108" y="15"/>
                    <a:pt x="1" y="13"/>
                  </a:cubicBezTo>
                  <a:cubicBezTo>
                    <a:pt x="0" y="205"/>
                    <a:pt x="63" y="751"/>
                    <a:pt x="61" y="829"/>
                  </a:cubicBezTo>
                  <a:cubicBezTo>
                    <a:pt x="58" y="950"/>
                    <a:pt x="83" y="1793"/>
                    <a:pt x="98" y="1823"/>
                  </a:cubicBezTo>
                  <a:cubicBezTo>
                    <a:pt x="99" y="1827"/>
                    <a:pt x="325" y="1842"/>
                    <a:pt x="326" y="1834"/>
                  </a:cubicBezTo>
                  <a:cubicBezTo>
                    <a:pt x="334" y="1793"/>
                    <a:pt x="350" y="1706"/>
                    <a:pt x="350" y="1704"/>
                  </a:cubicBezTo>
                  <a:cubicBezTo>
                    <a:pt x="352" y="1525"/>
                    <a:pt x="372" y="1457"/>
                    <a:pt x="365" y="1279"/>
                  </a:cubicBezTo>
                  <a:cubicBezTo>
                    <a:pt x="366" y="1277"/>
                    <a:pt x="366" y="1274"/>
                    <a:pt x="366" y="1272"/>
                  </a:cubicBezTo>
                  <a:cubicBezTo>
                    <a:pt x="372" y="1245"/>
                    <a:pt x="420" y="592"/>
                    <a:pt x="422" y="520"/>
                  </a:cubicBezTo>
                  <a:cubicBezTo>
                    <a:pt x="454" y="570"/>
                    <a:pt x="450" y="643"/>
                    <a:pt x="450" y="643"/>
                  </a:cubicBezTo>
                  <a:cubicBezTo>
                    <a:pt x="450" y="643"/>
                    <a:pt x="463" y="1751"/>
                    <a:pt x="459" y="1816"/>
                  </a:cubicBezTo>
                  <a:cubicBezTo>
                    <a:pt x="459" y="1816"/>
                    <a:pt x="459" y="1816"/>
                    <a:pt x="459" y="1817"/>
                  </a:cubicBezTo>
                  <a:cubicBezTo>
                    <a:pt x="457" y="1820"/>
                    <a:pt x="457" y="1825"/>
                    <a:pt x="462" y="1827"/>
                  </a:cubicBezTo>
                  <a:cubicBezTo>
                    <a:pt x="505" y="1843"/>
                    <a:pt x="549" y="1837"/>
                    <a:pt x="593" y="1827"/>
                  </a:cubicBezTo>
                  <a:cubicBezTo>
                    <a:pt x="644" y="1816"/>
                    <a:pt x="712" y="1783"/>
                    <a:pt x="712" y="1778"/>
                  </a:cubicBezTo>
                  <a:cubicBezTo>
                    <a:pt x="714" y="1663"/>
                    <a:pt x="774" y="1087"/>
                    <a:pt x="780" y="1015"/>
                  </a:cubicBezTo>
                  <a:cubicBezTo>
                    <a:pt x="787" y="924"/>
                    <a:pt x="756" y="161"/>
                    <a:pt x="754" y="162"/>
                  </a:cubicBezTo>
                  <a:cubicBezTo>
                    <a:pt x="755" y="119"/>
                    <a:pt x="756" y="14"/>
                    <a:pt x="754" y="11"/>
                  </a:cubicBezTo>
                  <a:close/>
                </a:path>
              </a:pathLst>
            </a:custGeom>
            <a:solidFill>
              <a:srgbClr val="373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59" name="Freeform 103">
              <a:extLst>
                <a:ext uri="{FF2B5EF4-FFF2-40B4-BE49-F238E27FC236}">
                  <a16:creationId xmlns:a16="http://schemas.microsoft.com/office/drawing/2014/main" id="{435B9D91-CE7A-18C7-C400-0FC398ACE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610" y="5392079"/>
              <a:ext cx="324756" cy="35964"/>
            </a:xfrm>
            <a:custGeom>
              <a:avLst/>
              <a:gdLst>
                <a:gd name="T0" fmla="*/ 0 w 1797"/>
                <a:gd name="T1" fmla="*/ 175 h 199"/>
                <a:gd name="T2" fmla="*/ 1797 w 1797"/>
                <a:gd name="T3" fmla="*/ 199 h 199"/>
                <a:gd name="T4" fmla="*/ 1797 w 1797"/>
                <a:gd name="T5" fmla="*/ 0 h 199"/>
                <a:gd name="T6" fmla="*/ 2 w 1797"/>
                <a:gd name="T7" fmla="*/ 33 h 199"/>
                <a:gd name="T8" fmla="*/ 0 w 1797"/>
                <a:gd name="T9" fmla="*/ 175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7" h="199">
                  <a:moveTo>
                    <a:pt x="0" y="175"/>
                  </a:moveTo>
                  <a:lnTo>
                    <a:pt x="1797" y="199"/>
                  </a:lnTo>
                  <a:lnTo>
                    <a:pt x="1797" y="0"/>
                  </a:lnTo>
                  <a:lnTo>
                    <a:pt x="2" y="33"/>
                  </a:lnTo>
                  <a:lnTo>
                    <a:pt x="0" y="175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0" name="Freeform 104">
              <a:extLst>
                <a:ext uri="{FF2B5EF4-FFF2-40B4-BE49-F238E27FC236}">
                  <a16:creationId xmlns:a16="http://schemas.microsoft.com/office/drawing/2014/main" id="{43EC1274-C4BC-6C3B-5A51-E4DE16C0C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717" y="4898168"/>
              <a:ext cx="114939" cy="81505"/>
            </a:xfrm>
            <a:custGeom>
              <a:avLst/>
              <a:gdLst>
                <a:gd name="T0" fmla="*/ 262 w 269"/>
                <a:gd name="T1" fmla="*/ 59 h 191"/>
                <a:gd name="T2" fmla="*/ 252 w 269"/>
                <a:gd name="T3" fmla="*/ 18 h 191"/>
                <a:gd name="T4" fmla="*/ 244 w 269"/>
                <a:gd name="T5" fmla="*/ 19 h 191"/>
                <a:gd name="T6" fmla="*/ 244 w 269"/>
                <a:gd name="T7" fmla="*/ 19 h 191"/>
                <a:gd name="T8" fmla="*/ 137 w 269"/>
                <a:gd name="T9" fmla="*/ 33 h 191"/>
                <a:gd name="T10" fmla="*/ 26 w 269"/>
                <a:gd name="T11" fmla="*/ 3 h 191"/>
                <a:gd name="T12" fmla="*/ 21 w 269"/>
                <a:gd name="T13" fmla="*/ 13 h 191"/>
                <a:gd name="T14" fmla="*/ 24 w 269"/>
                <a:gd name="T15" fmla="*/ 15 h 191"/>
                <a:gd name="T16" fmla="*/ 22 w 269"/>
                <a:gd name="T17" fmla="*/ 47 h 191"/>
                <a:gd name="T18" fmla="*/ 23 w 269"/>
                <a:gd name="T19" fmla="*/ 94 h 191"/>
                <a:gd name="T20" fmla="*/ 18 w 269"/>
                <a:gd name="T21" fmla="*/ 99 h 191"/>
                <a:gd name="T22" fmla="*/ 130 w 269"/>
                <a:gd name="T23" fmla="*/ 190 h 191"/>
                <a:gd name="T24" fmla="*/ 266 w 269"/>
                <a:gd name="T25" fmla="*/ 94 h 191"/>
                <a:gd name="T26" fmla="*/ 266 w 269"/>
                <a:gd name="T27" fmla="*/ 94 h 191"/>
                <a:gd name="T28" fmla="*/ 266 w 269"/>
                <a:gd name="T29" fmla="*/ 93 h 191"/>
                <a:gd name="T30" fmla="*/ 262 w 269"/>
                <a:gd name="T31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9" h="191">
                  <a:moveTo>
                    <a:pt x="262" y="59"/>
                  </a:moveTo>
                  <a:cubicBezTo>
                    <a:pt x="259" y="45"/>
                    <a:pt x="257" y="31"/>
                    <a:pt x="252" y="18"/>
                  </a:cubicBezTo>
                  <a:cubicBezTo>
                    <a:pt x="250" y="14"/>
                    <a:pt x="244" y="15"/>
                    <a:pt x="244" y="19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09" y="29"/>
                    <a:pt x="173" y="36"/>
                    <a:pt x="137" y="33"/>
                  </a:cubicBezTo>
                  <a:cubicBezTo>
                    <a:pt x="97" y="31"/>
                    <a:pt x="63" y="18"/>
                    <a:pt x="26" y="3"/>
                  </a:cubicBezTo>
                  <a:cubicBezTo>
                    <a:pt x="19" y="0"/>
                    <a:pt x="14" y="9"/>
                    <a:pt x="21" y="13"/>
                  </a:cubicBezTo>
                  <a:cubicBezTo>
                    <a:pt x="22" y="14"/>
                    <a:pt x="23" y="14"/>
                    <a:pt x="24" y="15"/>
                  </a:cubicBezTo>
                  <a:cubicBezTo>
                    <a:pt x="22" y="25"/>
                    <a:pt x="22" y="36"/>
                    <a:pt x="22" y="47"/>
                  </a:cubicBezTo>
                  <a:cubicBezTo>
                    <a:pt x="22" y="63"/>
                    <a:pt x="21" y="79"/>
                    <a:pt x="23" y="94"/>
                  </a:cubicBezTo>
                  <a:cubicBezTo>
                    <a:pt x="21" y="95"/>
                    <a:pt x="19" y="96"/>
                    <a:pt x="18" y="99"/>
                  </a:cubicBezTo>
                  <a:cubicBezTo>
                    <a:pt x="0" y="161"/>
                    <a:pt x="82" y="191"/>
                    <a:pt x="130" y="190"/>
                  </a:cubicBezTo>
                  <a:cubicBezTo>
                    <a:pt x="183" y="190"/>
                    <a:pt x="257" y="153"/>
                    <a:pt x="266" y="94"/>
                  </a:cubicBezTo>
                  <a:cubicBezTo>
                    <a:pt x="266" y="94"/>
                    <a:pt x="266" y="94"/>
                    <a:pt x="266" y="94"/>
                  </a:cubicBezTo>
                  <a:cubicBezTo>
                    <a:pt x="266" y="94"/>
                    <a:pt x="266" y="93"/>
                    <a:pt x="266" y="93"/>
                  </a:cubicBezTo>
                  <a:cubicBezTo>
                    <a:pt x="269" y="81"/>
                    <a:pt x="265" y="70"/>
                    <a:pt x="262" y="59"/>
                  </a:cubicBez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1" name="Freeform 105">
              <a:extLst>
                <a:ext uri="{FF2B5EF4-FFF2-40B4-BE49-F238E27FC236}">
                  <a16:creationId xmlns:a16="http://schemas.microsoft.com/office/drawing/2014/main" id="{244B98F7-974E-A999-249D-5E55558C9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224" y="4904132"/>
              <a:ext cx="86204" cy="107710"/>
            </a:xfrm>
            <a:custGeom>
              <a:avLst/>
              <a:gdLst>
                <a:gd name="T0" fmla="*/ 44 w 202"/>
                <a:gd name="T1" fmla="*/ 1 h 252"/>
                <a:gd name="T2" fmla="*/ 3 w 202"/>
                <a:gd name="T3" fmla="*/ 14 h 252"/>
                <a:gd name="T4" fmla="*/ 1 w 202"/>
                <a:gd name="T5" fmla="*/ 29 h 252"/>
                <a:gd name="T6" fmla="*/ 33 w 202"/>
                <a:gd name="T7" fmla="*/ 135 h 252"/>
                <a:gd name="T8" fmla="*/ 69 w 202"/>
                <a:gd name="T9" fmla="*/ 244 h 252"/>
                <a:gd name="T10" fmla="*/ 69 w 202"/>
                <a:gd name="T11" fmla="*/ 244 h 252"/>
                <a:gd name="T12" fmla="*/ 78 w 202"/>
                <a:gd name="T13" fmla="*/ 250 h 252"/>
                <a:gd name="T14" fmla="*/ 202 w 202"/>
                <a:gd name="T15" fmla="*/ 160 h 252"/>
                <a:gd name="T16" fmla="*/ 44 w 202"/>
                <a:gd name="T17" fmla="*/ 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" h="252">
                  <a:moveTo>
                    <a:pt x="44" y="1"/>
                  </a:moveTo>
                  <a:cubicBezTo>
                    <a:pt x="43" y="0"/>
                    <a:pt x="23" y="1"/>
                    <a:pt x="3" y="14"/>
                  </a:cubicBezTo>
                  <a:cubicBezTo>
                    <a:pt x="2" y="15"/>
                    <a:pt x="0" y="27"/>
                    <a:pt x="1" y="29"/>
                  </a:cubicBezTo>
                  <a:cubicBezTo>
                    <a:pt x="9" y="66"/>
                    <a:pt x="21" y="99"/>
                    <a:pt x="33" y="135"/>
                  </a:cubicBezTo>
                  <a:cubicBezTo>
                    <a:pt x="45" y="172"/>
                    <a:pt x="56" y="208"/>
                    <a:pt x="69" y="244"/>
                  </a:cubicBezTo>
                  <a:cubicBezTo>
                    <a:pt x="69" y="244"/>
                    <a:pt x="69" y="244"/>
                    <a:pt x="69" y="244"/>
                  </a:cubicBezTo>
                  <a:cubicBezTo>
                    <a:pt x="69" y="249"/>
                    <a:pt x="74" y="252"/>
                    <a:pt x="78" y="250"/>
                  </a:cubicBezTo>
                  <a:cubicBezTo>
                    <a:pt x="124" y="228"/>
                    <a:pt x="194" y="171"/>
                    <a:pt x="202" y="160"/>
                  </a:cubicBezTo>
                  <a:cubicBezTo>
                    <a:pt x="185" y="146"/>
                    <a:pt x="80" y="90"/>
                    <a:pt x="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2" name="Freeform 106">
              <a:extLst>
                <a:ext uri="{FF2B5EF4-FFF2-40B4-BE49-F238E27FC236}">
                  <a16:creationId xmlns:a16="http://schemas.microsoft.com/office/drawing/2014/main" id="{838D01C7-7DE6-75EF-2D64-77B48CE45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091" y="4712748"/>
              <a:ext cx="170420" cy="221203"/>
            </a:xfrm>
            <a:custGeom>
              <a:avLst/>
              <a:gdLst>
                <a:gd name="T0" fmla="*/ 369 w 399"/>
                <a:gd name="T1" fmla="*/ 247 h 518"/>
                <a:gd name="T2" fmla="*/ 365 w 399"/>
                <a:gd name="T3" fmla="*/ 246 h 518"/>
                <a:gd name="T4" fmla="*/ 207 w 399"/>
                <a:gd name="T5" fmla="*/ 1 h 518"/>
                <a:gd name="T6" fmla="*/ 68 w 399"/>
                <a:gd name="T7" fmla="*/ 76 h 518"/>
                <a:gd name="T8" fmla="*/ 36 w 399"/>
                <a:gd name="T9" fmla="*/ 245 h 518"/>
                <a:gd name="T10" fmla="*/ 3 w 399"/>
                <a:gd name="T11" fmla="*/ 265 h 518"/>
                <a:gd name="T12" fmla="*/ 20 w 399"/>
                <a:gd name="T13" fmla="*/ 330 h 518"/>
                <a:gd name="T14" fmla="*/ 28 w 399"/>
                <a:gd name="T15" fmla="*/ 356 h 518"/>
                <a:gd name="T16" fmla="*/ 62 w 399"/>
                <a:gd name="T17" fmla="*/ 374 h 518"/>
                <a:gd name="T18" fmla="*/ 93 w 399"/>
                <a:gd name="T19" fmla="*/ 457 h 518"/>
                <a:gd name="T20" fmla="*/ 94 w 399"/>
                <a:gd name="T21" fmla="*/ 458 h 518"/>
                <a:gd name="T22" fmla="*/ 146 w 399"/>
                <a:gd name="T23" fmla="*/ 501 h 518"/>
                <a:gd name="T24" fmla="*/ 264 w 399"/>
                <a:gd name="T25" fmla="*/ 504 h 518"/>
                <a:gd name="T26" fmla="*/ 351 w 399"/>
                <a:gd name="T27" fmla="*/ 439 h 518"/>
                <a:gd name="T28" fmla="*/ 358 w 399"/>
                <a:gd name="T29" fmla="*/ 434 h 518"/>
                <a:gd name="T30" fmla="*/ 369 w 399"/>
                <a:gd name="T31" fmla="*/ 354 h 518"/>
                <a:gd name="T32" fmla="*/ 369 w 399"/>
                <a:gd name="T33" fmla="*/ 247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9" h="518">
                  <a:moveTo>
                    <a:pt x="369" y="247"/>
                  </a:moveTo>
                  <a:cubicBezTo>
                    <a:pt x="368" y="246"/>
                    <a:pt x="366" y="246"/>
                    <a:pt x="365" y="246"/>
                  </a:cubicBezTo>
                  <a:cubicBezTo>
                    <a:pt x="398" y="136"/>
                    <a:pt x="331" y="4"/>
                    <a:pt x="207" y="1"/>
                  </a:cubicBezTo>
                  <a:cubicBezTo>
                    <a:pt x="151" y="0"/>
                    <a:pt x="99" y="31"/>
                    <a:pt x="68" y="76"/>
                  </a:cubicBezTo>
                  <a:cubicBezTo>
                    <a:pt x="34" y="125"/>
                    <a:pt x="26" y="187"/>
                    <a:pt x="36" y="245"/>
                  </a:cubicBezTo>
                  <a:cubicBezTo>
                    <a:pt x="23" y="237"/>
                    <a:pt x="7" y="250"/>
                    <a:pt x="3" y="265"/>
                  </a:cubicBezTo>
                  <a:cubicBezTo>
                    <a:pt x="0" y="283"/>
                    <a:pt x="6" y="314"/>
                    <a:pt x="20" y="330"/>
                  </a:cubicBezTo>
                  <a:cubicBezTo>
                    <a:pt x="20" y="339"/>
                    <a:pt x="23" y="348"/>
                    <a:pt x="28" y="356"/>
                  </a:cubicBezTo>
                  <a:cubicBezTo>
                    <a:pt x="34" y="364"/>
                    <a:pt x="50" y="376"/>
                    <a:pt x="62" y="374"/>
                  </a:cubicBezTo>
                  <a:cubicBezTo>
                    <a:pt x="62" y="402"/>
                    <a:pt x="77" y="435"/>
                    <a:pt x="93" y="457"/>
                  </a:cubicBezTo>
                  <a:cubicBezTo>
                    <a:pt x="93" y="457"/>
                    <a:pt x="93" y="457"/>
                    <a:pt x="94" y="458"/>
                  </a:cubicBezTo>
                  <a:cubicBezTo>
                    <a:pt x="95" y="479"/>
                    <a:pt x="128" y="494"/>
                    <a:pt x="146" y="501"/>
                  </a:cubicBezTo>
                  <a:cubicBezTo>
                    <a:pt x="183" y="514"/>
                    <a:pt x="227" y="518"/>
                    <a:pt x="264" y="504"/>
                  </a:cubicBezTo>
                  <a:cubicBezTo>
                    <a:pt x="299" y="496"/>
                    <a:pt x="333" y="470"/>
                    <a:pt x="351" y="439"/>
                  </a:cubicBezTo>
                  <a:cubicBezTo>
                    <a:pt x="354" y="440"/>
                    <a:pt x="358" y="438"/>
                    <a:pt x="358" y="434"/>
                  </a:cubicBezTo>
                  <a:cubicBezTo>
                    <a:pt x="362" y="408"/>
                    <a:pt x="368" y="381"/>
                    <a:pt x="369" y="354"/>
                  </a:cubicBezTo>
                  <a:cubicBezTo>
                    <a:pt x="399" y="323"/>
                    <a:pt x="398" y="278"/>
                    <a:pt x="369" y="247"/>
                  </a:cubicBezTo>
                  <a:close/>
                </a:path>
              </a:pathLst>
            </a:custGeom>
            <a:solidFill>
              <a:srgbClr val="EFD5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3" name="Freeform 107">
              <a:extLst>
                <a:ext uri="{FF2B5EF4-FFF2-40B4-BE49-F238E27FC236}">
                  <a16:creationId xmlns:a16="http://schemas.microsoft.com/office/drawing/2014/main" id="{E16C921B-25C1-1C32-6779-1D69C8D25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429" y="4707146"/>
              <a:ext cx="162288" cy="129396"/>
            </a:xfrm>
            <a:custGeom>
              <a:avLst/>
              <a:gdLst>
                <a:gd name="T0" fmla="*/ 357 w 380"/>
                <a:gd name="T1" fmla="*/ 87 h 303"/>
                <a:gd name="T2" fmla="*/ 355 w 380"/>
                <a:gd name="T3" fmla="*/ 85 h 303"/>
                <a:gd name="T4" fmla="*/ 252 w 380"/>
                <a:gd name="T5" fmla="*/ 8 h 303"/>
                <a:gd name="T6" fmla="*/ 248 w 380"/>
                <a:gd name="T7" fmla="*/ 6 h 303"/>
                <a:gd name="T8" fmla="*/ 148 w 380"/>
                <a:gd name="T9" fmla="*/ 5 h 303"/>
                <a:gd name="T10" fmla="*/ 146 w 380"/>
                <a:gd name="T11" fmla="*/ 5 h 303"/>
                <a:gd name="T12" fmla="*/ 58 w 380"/>
                <a:gd name="T13" fmla="*/ 41 h 303"/>
                <a:gd name="T14" fmla="*/ 6 w 380"/>
                <a:gd name="T15" fmla="*/ 115 h 303"/>
                <a:gd name="T16" fmla="*/ 2 w 380"/>
                <a:gd name="T17" fmla="*/ 120 h 303"/>
                <a:gd name="T18" fmla="*/ 11 w 380"/>
                <a:gd name="T19" fmla="*/ 254 h 303"/>
                <a:gd name="T20" fmla="*/ 12 w 380"/>
                <a:gd name="T21" fmla="*/ 256 h 303"/>
                <a:gd name="T22" fmla="*/ 14 w 380"/>
                <a:gd name="T23" fmla="*/ 263 h 303"/>
                <a:gd name="T24" fmla="*/ 36 w 380"/>
                <a:gd name="T25" fmla="*/ 292 h 303"/>
                <a:gd name="T26" fmla="*/ 38 w 380"/>
                <a:gd name="T27" fmla="*/ 298 h 303"/>
                <a:gd name="T28" fmla="*/ 56 w 380"/>
                <a:gd name="T29" fmla="*/ 301 h 303"/>
                <a:gd name="T30" fmla="*/ 64 w 380"/>
                <a:gd name="T31" fmla="*/ 160 h 303"/>
                <a:gd name="T32" fmla="*/ 97 w 380"/>
                <a:gd name="T33" fmla="*/ 116 h 303"/>
                <a:gd name="T34" fmla="*/ 120 w 380"/>
                <a:gd name="T35" fmla="*/ 82 h 303"/>
                <a:gd name="T36" fmla="*/ 177 w 380"/>
                <a:gd name="T37" fmla="*/ 82 h 303"/>
                <a:gd name="T38" fmla="*/ 262 w 380"/>
                <a:gd name="T39" fmla="*/ 80 h 303"/>
                <a:gd name="T40" fmla="*/ 295 w 380"/>
                <a:gd name="T41" fmla="*/ 117 h 303"/>
                <a:gd name="T42" fmla="*/ 341 w 380"/>
                <a:gd name="T43" fmla="*/ 165 h 303"/>
                <a:gd name="T44" fmla="*/ 349 w 380"/>
                <a:gd name="T45" fmla="*/ 267 h 303"/>
                <a:gd name="T46" fmla="*/ 352 w 380"/>
                <a:gd name="T47" fmla="*/ 271 h 303"/>
                <a:gd name="T48" fmla="*/ 359 w 380"/>
                <a:gd name="T49" fmla="*/ 276 h 303"/>
                <a:gd name="T50" fmla="*/ 367 w 380"/>
                <a:gd name="T51" fmla="*/ 273 h 303"/>
                <a:gd name="T52" fmla="*/ 368 w 380"/>
                <a:gd name="T53" fmla="*/ 272 h 303"/>
                <a:gd name="T54" fmla="*/ 371 w 380"/>
                <a:gd name="T55" fmla="*/ 268 h 303"/>
                <a:gd name="T56" fmla="*/ 357 w 380"/>
                <a:gd name="T57" fmla="*/ 87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80" h="303">
                  <a:moveTo>
                    <a:pt x="357" y="87"/>
                  </a:moveTo>
                  <a:cubicBezTo>
                    <a:pt x="357" y="86"/>
                    <a:pt x="356" y="86"/>
                    <a:pt x="355" y="85"/>
                  </a:cubicBezTo>
                  <a:cubicBezTo>
                    <a:pt x="334" y="47"/>
                    <a:pt x="295" y="16"/>
                    <a:pt x="252" y="8"/>
                  </a:cubicBezTo>
                  <a:cubicBezTo>
                    <a:pt x="251" y="7"/>
                    <a:pt x="250" y="6"/>
                    <a:pt x="248" y="6"/>
                  </a:cubicBezTo>
                  <a:cubicBezTo>
                    <a:pt x="214" y="5"/>
                    <a:pt x="181" y="4"/>
                    <a:pt x="148" y="5"/>
                  </a:cubicBezTo>
                  <a:cubicBezTo>
                    <a:pt x="147" y="5"/>
                    <a:pt x="147" y="5"/>
                    <a:pt x="146" y="5"/>
                  </a:cubicBezTo>
                  <a:cubicBezTo>
                    <a:pt x="115" y="0"/>
                    <a:pt x="77" y="14"/>
                    <a:pt x="58" y="41"/>
                  </a:cubicBezTo>
                  <a:cubicBezTo>
                    <a:pt x="31" y="58"/>
                    <a:pt x="13" y="84"/>
                    <a:pt x="6" y="115"/>
                  </a:cubicBezTo>
                  <a:cubicBezTo>
                    <a:pt x="4" y="116"/>
                    <a:pt x="2" y="117"/>
                    <a:pt x="2" y="120"/>
                  </a:cubicBezTo>
                  <a:cubicBezTo>
                    <a:pt x="0" y="164"/>
                    <a:pt x="0" y="212"/>
                    <a:pt x="11" y="254"/>
                  </a:cubicBezTo>
                  <a:cubicBezTo>
                    <a:pt x="11" y="255"/>
                    <a:pt x="12" y="256"/>
                    <a:pt x="12" y="256"/>
                  </a:cubicBezTo>
                  <a:cubicBezTo>
                    <a:pt x="11" y="258"/>
                    <a:pt x="12" y="261"/>
                    <a:pt x="14" y="263"/>
                  </a:cubicBezTo>
                  <a:cubicBezTo>
                    <a:pt x="25" y="270"/>
                    <a:pt x="32" y="280"/>
                    <a:pt x="36" y="292"/>
                  </a:cubicBezTo>
                  <a:cubicBezTo>
                    <a:pt x="35" y="294"/>
                    <a:pt x="36" y="296"/>
                    <a:pt x="38" y="298"/>
                  </a:cubicBezTo>
                  <a:cubicBezTo>
                    <a:pt x="44" y="302"/>
                    <a:pt x="56" y="303"/>
                    <a:pt x="56" y="301"/>
                  </a:cubicBezTo>
                  <a:cubicBezTo>
                    <a:pt x="61" y="258"/>
                    <a:pt x="65" y="204"/>
                    <a:pt x="64" y="160"/>
                  </a:cubicBezTo>
                  <a:cubicBezTo>
                    <a:pt x="77" y="148"/>
                    <a:pt x="87" y="131"/>
                    <a:pt x="97" y="116"/>
                  </a:cubicBezTo>
                  <a:cubicBezTo>
                    <a:pt x="104" y="105"/>
                    <a:pt x="112" y="94"/>
                    <a:pt x="120" y="82"/>
                  </a:cubicBezTo>
                  <a:cubicBezTo>
                    <a:pt x="139" y="83"/>
                    <a:pt x="158" y="82"/>
                    <a:pt x="177" y="82"/>
                  </a:cubicBezTo>
                  <a:cubicBezTo>
                    <a:pt x="205" y="82"/>
                    <a:pt x="234" y="83"/>
                    <a:pt x="262" y="80"/>
                  </a:cubicBezTo>
                  <a:cubicBezTo>
                    <a:pt x="272" y="93"/>
                    <a:pt x="284" y="105"/>
                    <a:pt x="295" y="117"/>
                  </a:cubicBezTo>
                  <a:cubicBezTo>
                    <a:pt x="310" y="133"/>
                    <a:pt x="325" y="150"/>
                    <a:pt x="341" y="165"/>
                  </a:cubicBezTo>
                  <a:cubicBezTo>
                    <a:pt x="342" y="199"/>
                    <a:pt x="345" y="233"/>
                    <a:pt x="349" y="267"/>
                  </a:cubicBezTo>
                  <a:cubicBezTo>
                    <a:pt x="349" y="269"/>
                    <a:pt x="350" y="270"/>
                    <a:pt x="352" y="271"/>
                  </a:cubicBezTo>
                  <a:cubicBezTo>
                    <a:pt x="352" y="274"/>
                    <a:pt x="355" y="277"/>
                    <a:pt x="359" y="276"/>
                  </a:cubicBezTo>
                  <a:cubicBezTo>
                    <a:pt x="362" y="275"/>
                    <a:pt x="365" y="274"/>
                    <a:pt x="367" y="273"/>
                  </a:cubicBezTo>
                  <a:cubicBezTo>
                    <a:pt x="368" y="273"/>
                    <a:pt x="368" y="272"/>
                    <a:pt x="368" y="272"/>
                  </a:cubicBezTo>
                  <a:cubicBezTo>
                    <a:pt x="370" y="271"/>
                    <a:pt x="371" y="270"/>
                    <a:pt x="371" y="268"/>
                  </a:cubicBezTo>
                  <a:cubicBezTo>
                    <a:pt x="380" y="208"/>
                    <a:pt x="377" y="145"/>
                    <a:pt x="357" y="87"/>
                  </a:cubicBezTo>
                  <a:close/>
                </a:path>
              </a:pathLst>
            </a:custGeom>
            <a:solidFill>
              <a:srgbClr val="3A3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4" name="Freeform 108">
              <a:extLst>
                <a:ext uri="{FF2B5EF4-FFF2-40B4-BE49-F238E27FC236}">
                  <a16:creationId xmlns:a16="http://schemas.microsoft.com/office/drawing/2014/main" id="{87CDB173-32E4-5EA5-081B-33066CC99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249" y="5113046"/>
              <a:ext cx="130300" cy="270540"/>
            </a:xfrm>
            <a:custGeom>
              <a:avLst/>
              <a:gdLst>
                <a:gd name="T0" fmla="*/ 297 w 305"/>
                <a:gd name="T1" fmla="*/ 95 h 633"/>
                <a:gd name="T2" fmla="*/ 258 w 305"/>
                <a:gd name="T3" fmla="*/ 3 h 633"/>
                <a:gd name="T4" fmla="*/ 2 w 305"/>
                <a:gd name="T5" fmla="*/ 620 h 633"/>
                <a:gd name="T6" fmla="*/ 19 w 305"/>
                <a:gd name="T7" fmla="*/ 625 h 633"/>
                <a:gd name="T8" fmla="*/ 26 w 305"/>
                <a:gd name="T9" fmla="*/ 623 h 633"/>
                <a:gd name="T10" fmla="*/ 53 w 305"/>
                <a:gd name="T11" fmla="*/ 557 h 633"/>
                <a:gd name="T12" fmla="*/ 83 w 305"/>
                <a:gd name="T13" fmla="*/ 484 h 633"/>
                <a:gd name="T14" fmla="*/ 146 w 305"/>
                <a:gd name="T15" fmla="*/ 353 h 633"/>
                <a:gd name="T16" fmla="*/ 303 w 305"/>
                <a:gd name="T17" fmla="*/ 98 h 633"/>
                <a:gd name="T18" fmla="*/ 297 w 305"/>
                <a:gd name="T19" fmla="*/ 95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633">
                  <a:moveTo>
                    <a:pt x="297" y="95"/>
                  </a:moveTo>
                  <a:cubicBezTo>
                    <a:pt x="293" y="55"/>
                    <a:pt x="260" y="0"/>
                    <a:pt x="258" y="3"/>
                  </a:cubicBezTo>
                  <a:cubicBezTo>
                    <a:pt x="135" y="194"/>
                    <a:pt x="53" y="404"/>
                    <a:pt x="2" y="620"/>
                  </a:cubicBezTo>
                  <a:cubicBezTo>
                    <a:pt x="0" y="629"/>
                    <a:pt x="15" y="633"/>
                    <a:pt x="19" y="625"/>
                  </a:cubicBezTo>
                  <a:cubicBezTo>
                    <a:pt x="22" y="626"/>
                    <a:pt x="25" y="625"/>
                    <a:pt x="26" y="623"/>
                  </a:cubicBezTo>
                  <a:cubicBezTo>
                    <a:pt x="40" y="603"/>
                    <a:pt x="45" y="578"/>
                    <a:pt x="53" y="557"/>
                  </a:cubicBezTo>
                  <a:cubicBezTo>
                    <a:pt x="63" y="532"/>
                    <a:pt x="73" y="508"/>
                    <a:pt x="83" y="484"/>
                  </a:cubicBezTo>
                  <a:cubicBezTo>
                    <a:pt x="102" y="440"/>
                    <a:pt x="123" y="396"/>
                    <a:pt x="146" y="353"/>
                  </a:cubicBezTo>
                  <a:cubicBezTo>
                    <a:pt x="192" y="265"/>
                    <a:pt x="245" y="179"/>
                    <a:pt x="303" y="98"/>
                  </a:cubicBezTo>
                  <a:cubicBezTo>
                    <a:pt x="305" y="94"/>
                    <a:pt x="297" y="99"/>
                    <a:pt x="297" y="95"/>
                  </a:cubicBezTo>
                  <a:close/>
                </a:path>
              </a:pathLst>
            </a:custGeom>
            <a:solidFill>
              <a:srgbClr val="3138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5" name="Freeform 109">
              <a:extLst>
                <a:ext uri="{FF2B5EF4-FFF2-40B4-BE49-F238E27FC236}">
                  <a16:creationId xmlns:a16="http://schemas.microsoft.com/office/drawing/2014/main" id="{E764B4AB-C3CE-90A6-E57C-78D04C5D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165" y="4980216"/>
              <a:ext cx="131204" cy="519935"/>
            </a:xfrm>
            <a:custGeom>
              <a:avLst/>
              <a:gdLst>
                <a:gd name="T0" fmla="*/ 302 w 307"/>
                <a:gd name="T1" fmla="*/ 1063 h 1217"/>
                <a:gd name="T2" fmla="*/ 262 w 307"/>
                <a:gd name="T3" fmla="*/ 927 h 1217"/>
                <a:gd name="T4" fmla="*/ 262 w 307"/>
                <a:gd name="T5" fmla="*/ 926 h 1217"/>
                <a:gd name="T6" fmla="*/ 242 w 307"/>
                <a:gd name="T7" fmla="*/ 767 h 1217"/>
                <a:gd name="T8" fmla="*/ 225 w 307"/>
                <a:gd name="T9" fmla="*/ 635 h 1217"/>
                <a:gd name="T10" fmla="*/ 225 w 307"/>
                <a:gd name="T11" fmla="*/ 635 h 1217"/>
                <a:gd name="T12" fmla="*/ 254 w 307"/>
                <a:gd name="T13" fmla="*/ 446 h 1217"/>
                <a:gd name="T14" fmla="*/ 260 w 307"/>
                <a:gd name="T15" fmla="*/ 308 h 1217"/>
                <a:gd name="T16" fmla="*/ 265 w 307"/>
                <a:gd name="T17" fmla="*/ 306 h 1217"/>
                <a:gd name="T18" fmla="*/ 232 w 307"/>
                <a:gd name="T19" fmla="*/ 129 h 1217"/>
                <a:gd name="T20" fmla="*/ 159 w 307"/>
                <a:gd name="T21" fmla="*/ 17 h 1217"/>
                <a:gd name="T22" fmla="*/ 146 w 307"/>
                <a:gd name="T23" fmla="*/ 6 h 1217"/>
                <a:gd name="T24" fmla="*/ 101 w 307"/>
                <a:gd name="T25" fmla="*/ 20 h 1217"/>
                <a:gd name="T26" fmla="*/ 73 w 307"/>
                <a:gd name="T27" fmla="*/ 98 h 1217"/>
                <a:gd name="T28" fmla="*/ 51 w 307"/>
                <a:gd name="T29" fmla="*/ 203 h 1217"/>
                <a:gd name="T30" fmla="*/ 3 w 307"/>
                <a:gd name="T31" fmla="*/ 614 h 1217"/>
                <a:gd name="T32" fmla="*/ 0 w 307"/>
                <a:gd name="T33" fmla="*/ 617 h 1217"/>
                <a:gd name="T34" fmla="*/ 16 w 307"/>
                <a:gd name="T35" fmla="*/ 716 h 1217"/>
                <a:gd name="T36" fmla="*/ 37 w 307"/>
                <a:gd name="T37" fmla="*/ 828 h 1217"/>
                <a:gd name="T38" fmla="*/ 57 w 307"/>
                <a:gd name="T39" fmla="*/ 935 h 1217"/>
                <a:gd name="T40" fmla="*/ 77 w 307"/>
                <a:gd name="T41" fmla="*/ 1031 h 1217"/>
                <a:gd name="T42" fmla="*/ 100 w 307"/>
                <a:gd name="T43" fmla="*/ 1087 h 1217"/>
                <a:gd name="T44" fmla="*/ 160 w 307"/>
                <a:gd name="T45" fmla="*/ 1210 h 1217"/>
                <a:gd name="T46" fmla="*/ 161 w 307"/>
                <a:gd name="T47" fmla="*/ 1210 h 1217"/>
                <a:gd name="T48" fmla="*/ 172 w 307"/>
                <a:gd name="T49" fmla="*/ 1213 h 1217"/>
                <a:gd name="T50" fmla="*/ 243 w 307"/>
                <a:gd name="T51" fmla="*/ 1139 h 1217"/>
                <a:gd name="T52" fmla="*/ 305 w 307"/>
                <a:gd name="T53" fmla="*/ 1070 h 1217"/>
                <a:gd name="T54" fmla="*/ 302 w 307"/>
                <a:gd name="T55" fmla="*/ 1063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1217">
                  <a:moveTo>
                    <a:pt x="302" y="1063"/>
                  </a:moveTo>
                  <a:cubicBezTo>
                    <a:pt x="291" y="1018"/>
                    <a:pt x="280" y="970"/>
                    <a:pt x="262" y="927"/>
                  </a:cubicBezTo>
                  <a:cubicBezTo>
                    <a:pt x="262" y="927"/>
                    <a:pt x="262" y="926"/>
                    <a:pt x="262" y="926"/>
                  </a:cubicBezTo>
                  <a:cubicBezTo>
                    <a:pt x="257" y="873"/>
                    <a:pt x="249" y="820"/>
                    <a:pt x="242" y="767"/>
                  </a:cubicBezTo>
                  <a:cubicBezTo>
                    <a:pt x="237" y="724"/>
                    <a:pt x="236" y="677"/>
                    <a:pt x="225" y="635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39" y="572"/>
                    <a:pt x="248" y="509"/>
                    <a:pt x="254" y="446"/>
                  </a:cubicBezTo>
                  <a:cubicBezTo>
                    <a:pt x="258" y="400"/>
                    <a:pt x="262" y="354"/>
                    <a:pt x="260" y="308"/>
                  </a:cubicBezTo>
                  <a:cubicBezTo>
                    <a:pt x="262" y="309"/>
                    <a:pt x="264" y="308"/>
                    <a:pt x="265" y="306"/>
                  </a:cubicBezTo>
                  <a:cubicBezTo>
                    <a:pt x="273" y="248"/>
                    <a:pt x="253" y="181"/>
                    <a:pt x="232" y="129"/>
                  </a:cubicBezTo>
                  <a:cubicBezTo>
                    <a:pt x="217" y="93"/>
                    <a:pt x="196" y="38"/>
                    <a:pt x="159" y="17"/>
                  </a:cubicBezTo>
                  <a:cubicBezTo>
                    <a:pt x="156" y="12"/>
                    <a:pt x="151" y="9"/>
                    <a:pt x="146" y="6"/>
                  </a:cubicBezTo>
                  <a:cubicBezTo>
                    <a:pt x="130" y="0"/>
                    <a:pt x="112" y="8"/>
                    <a:pt x="101" y="20"/>
                  </a:cubicBezTo>
                  <a:cubicBezTo>
                    <a:pt x="82" y="40"/>
                    <a:pt x="79" y="72"/>
                    <a:pt x="73" y="98"/>
                  </a:cubicBezTo>
                  <a:cubicBezTo>
                    <a:pt x="65" y="133"/>
                    <a:pt x="58" y="168"/>
                    <a:pt x="51" y="203"/>
                  </a:cubicBezTo>
                  <a:cubicBezTo>
                    <a:pt x="25" y="338"/>
                    <a:pt x="9" y="476"/>
                    <a:pt x="3" y="614"/>
                  </a:cubicBezTo>
                  <a:cubicBezTo>
                    <a:pt x="2" y="614"/>
                    <a:pt x="0" y="615"/>
                    <a:pt x="0" y="617"/>
                  </a:cubicBezTo>
                  <a:cubicBezTo>
                    <a:pt x="1" y="650"/>
                    <a:pt x="10" y="683"/>
                    <a:pt x="16" y="716"/>
                  </a:cubicBezTo>
                  <a:cubicBezTo>
                    <a:pt x="23" y="753"/>
                    <a:pt x="30" y="791"/>
                    <a:pt x="37" y="828"/>
                  </a:cubicBezTo>
                  <a:cubicBezTo>
                    <a:pt x="43" y="864"/>
                    <a:pt x="50" y="899"/>
                    <a:pt x="57" y="935"/>
                  </a:cubicBezTo>
                  <a:cubicBezTo>
                    <a:pt x="63" y="965"/>
                    <a:pt x="64" y="1003"/>
                    <a:pt x="77" y="1031"/>
                  </a:cubicBezTo>
                  <a:cubicBezTo>
                    <a:pt x="81" y="1051"/>
                    <a:pt x="91" y="1069"/>
                    <a:pt x="100" y="1087"/>
                  </a:cubicBezTo>
                  <a:cubicBezTo>
                    <a:pt x="120" y="1128"/>
                    <a:pt x="140" y="1169"/>
                    <a:pt x="160" y="1210"/>
                  </a:cubicBezTo>
                  <a:cubicBezTo>
                    <a:pt x="160" y="1210"/>
                    <a:pt x="160" y="1210"/>
                    <a:pt x="161" y="1210"/>
                  </a:cubicBezTo>
                  <a:cubicBezTo>
                    <a:pt x="162" y="1215"/>
                    <a:pt x="168" y="1217"/>
                    <a:pt x="172" y="1213"/>
                  </a:cubicBezTo>
                  <a:cubicBezTo>
                    <a:pt x="196" y="1189"/>
                    <a:pt x="219" y="1164"/>
                    <a:pt x="243" y="1139"/>
                  </a:cubicBezTo>
                  <a:cubicBezTo>
                    <a:pt x="264" y="1117"/>
                    <a:pt x="288" y="1095"/>
                    <a:pt x="305" y="1070"/>
                  </a:cubicBezTo>
                  <a:cubicBezTo>
                    <a:pt x="307" y="1067"/>
                    <a:pt x="305" y="1063"/>
                    <a:pt x="302" y="1063"/>
                  </a:cubicBezTo>
                  <a:close/>
                </a:path>
              </a:pathLst>
            </a:custGeom>
            <a:solidFill>
              <a:srgbClr val="353D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6" name="Freeform 110">
              <a:extLst>
                <a:ext uri="{FF2B5EF4-FFF2-40B4-BE49-F238E27FC236}">
                  <a16:creationId xmlns:a16="http://schemas.microsoft.com/office/drawing/2014/main" id="{76C3BAEE-F927-F860-04B7-3801B2235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502" y="5229792"/>
              <a:ext cx="81144" cy="38855"/>
            </a:xfrm>
            <a:custGeom>
              <a:avLst/>
              <a:gdLst>
                <a:gd name="T0" fmla="*/ 190 w 190"/>
                <a:gd name="T1" fmla="*/ 0 h 91"/>
                <a:gd name="T2" fmla="*/ 109 w 190"/>
                <a:gd name="T3" fmla="*/ 40 h 91"/>
                <a:gd name="T4" fmla="*/ 31 w 190"/>
                <a:gd name="T5" fmla="*/ 49 h 91"/>
                <a:gd name="T6" fmla="*/ 5 w 190"/>
                <a:gd name="T7" fmla="*/ 52 h 91"/>
                <a:gd name="T8" fmla="*/ 6 w 190"/>
                <a:gd name="T9" fmla="*/ 64 h 91"/>
                <a:gd name="T10" fmla="*/ 132 w 190"/>
                <a:gd name="T11" fmla="*/ 87 h 91"/>
                <a:gd name="T12" fmla="*/ 186 w 190"/>
                <a:gd name="T13" fmla="*/ 75 h 91"/>
                <a:gd name="T14" fmla="*/ 190 w 190"/>
                <a:gd name="T1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" h="91">
                  <a:moveTo>
                    <a:pt x="190" y="0"/>
                  </a:moveTo>
                  <a:cubicBezTo>
                    <a:pt x="167" y="16"/>
                    <a:pt x="137" y="30"/>
                    <a:pt x="109" y="40"/>
                  </a:cubicBezTo>
                  <a:cubicBezTo>
                    <a:pt x="83" y="48"/>
                    <a:pt x="57" y="49"/>
                    <a:pt x="31" y="49"/>
                  </a:cubicBezTo>
                  <a:cubicBezTo>
                    <a:pt x="22" y="45"/>
                    <a:pt x="14" y="47"/>
                    <a:pt x="5" y="52"/>
                  </a:cubicBezTo>
                  <a:cubicBezTo>
                    <a:pt x="0" y="55"/>
                    <a:pt x="0" y="62"/>
                    <a:pt x="6" y="64"/>
                  </a:cubicBezTo>
                  <a:cubicBezTo>
                    <a:pt x="45" y="82"/>
                    <a:pt x="88" y="91"/>
                    <a:pt x="132" y="87"/>
                  </a:cubicBezTo>
                  <a:cubicBezTo>
                    <a:pt x="151" y="86"/>
                    <a:pt x="171" y="83"/>
                    <a:pt x="186" y="75"/>
                  </a:cubicBezTo>
                  <a:cubicBezTo>
                    <a:pt x="182" y="50"/>
                    <a:pt x="189" y="24"/>
                    <a:pt x="190" y="0"/>
                  </a:cubicBezTo>
                  <a:close/>
                </a:path>
              </a:pathLst>
            </a:custGeom>
            <a:solidFill>
              <a:srgbClr val="3138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7" name="Freeform 111">
              <a:extLst>
                <a:ext uri="{FF2B5EF4-FFF2-40B4-BE49-F238E27FC236}">
                  <a16:creationId xmlns:a16="http://schemas.microsoft.com/office/drawing/2014/main" id="{B867066C-5F1B-5F20-E612-F1CC9A4A7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659" y="5371116"/>
              <a:ext cx="50783" cy="63614"/>
            </a:xfrm>
            <a:custGeom>
              <a:avLst/>
              <a:gdLst>
                <a:gd name="T0" fmla="*/ 115 w 119"/>
                <a:gd name="T1" fmla="*/ 62 h 149"/>
                <a:gd name="T2" fmla="*/ 118 w 119"/>
                <a:gd name="T3" fmla="*/ 57 h 149"/>
                <a:gd name="T4" fmla="*/ 100 w 119"/>
                <a:gd name="T5" fmla="*/ 4 h 149"/>
                <a:gd name="T6" fmla="*/ 91 w 119"/>
                <a:gd name="T7" fmla="*/ 4 h 149"/>
                <a:gd name="T8" fmla="*/ 91 w 119"/>
                <a:gd name="T9" fmla="*/ 5 h 149"/>
                <a:gd name="T10" fmla="*/ 49 w 119"/>
                <a:gd name="T11" fmla="*/ 65 h 149"/>
                <a:gd name="T12" fmla="*/ 8 w 119"/>
                <a:gd name="T13" fmla="*/ 135 h 149"/>
                <a:gd name="T14" fmla="*/ 6 w 119"/>
                <a:gd name="T15" fmla="*/ 135 h 149"/>
                <a:gd name="T16" fmla="*/ 10 w 119"/>
                <a:gd name="T17" fmla="*/ 147 h 149"/>
                <a:gd name="T18" fmla="*/ 75 w 119"/>
                <a:gd name="T19" fmla="*/ 111 h 149"/>
                <a:gd name="T20" fmla="*/ 115 w 119"/>
                <a:gd name="T21" fmla="*/ 62 h 149"/>
                <a:gd name="T22" fmla="*/ 115 w 119"/>
                <a:gd name="T23" fmla="*/ 62 h 149"/>
                <a:gd name="T24" fmla="*/ 115 w 119"/>
                <a:gd name="T25" fmla="*/ 6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149">
                  <a:moveTo>
                    <a:pt x="115" y="62"/>
                  </a:moveTo>
                  <a:cubicBezTo>
                    <a:pt x="115" y="62"/>
                    <a:pt x="119" y="59"/>
                    <a:pt x="118" y="57"/>
                  </a:cubicBezTo>
                  <a:cubicBezTo>
                    <a:pt x="115" y="48"/>
                    <a:pt x="103" y="13"/>
                    <a:pt x="100" y="4"/>
                  </a:cubicBezTo>
                  <a:cubicBezTo>
                    <a:pt x="98" y="0"/>
                    <a:pt x="93" y="0"/>
                    <a:pt x="91" y="4"/>
                  </a:cubicBezTo>
                  <a:cubicBezTo>
                    <a:pt x="91" y="4"/>
                    <a:pt x="91" y="5"/>
                    <a:pt x="91" y="5"/>
                  </a:cubicBezTo>
                  <a:cubicBezTo>
                    <a:pt x="73" y="21"/>
                    <a:pt x="62" y="45"/>
                    <a:pt x="49" y="65"/>
                  </a:cubicBezTo>
                  <a:cubicBezTo>
                    <a:pt x="34" y="88"/>
                    <a:pt x="19" y="110"/>
                    <a:pt x="8" y="135"/>
                  </a:cubicBezTo>
                  <a:cubicBezTo>
                    <a:pt x="7" y="135"/>
                    <a:pt x="7" y="135"/>
                    <a:pt x="6" y="135"/>
                  </a:cubicBezTo>
                  <a:cubicBezTo>
                    <a:pt x="0" y="138"/>
                    <a:pt x="3" y="149"/>
                    <a:pt x="10" y="147"/>
                  </a:cubicBezTo>
                  <a:cubicBezTo>
                    <a:pt x="34" y="140"/>
                    <a:pt x="56" y="126"/>
                    <a:pt x="75" y="111"/>
                  </a:cubicBezTo>
                  <a:cubicBezTo>
                    <a:pt x="90" y="98"/>
                    <a:pt x="110" y="82"/>
                    <a:pt x="115" y="62"/>
                  </a:cubicBezTo>
                  <a:cubicBezTo>
                    <a:pt x="115" y="62"/>
                    <a:pt x="115" y="62"/>
                    <a:pt x="115" y="62"/>
                  </a:cubicBezTo>
                  <a:cubicBezTo>
                    <a:pt x="115" y="62"/>
                    <a:pt x="115" y="62"/>
                    <a:pt x="115" y="62"/>
                  </a:cubicBezTo>
                  <a:close/>
                </a:path>
              </a:pathLst>
            </a:custGeom>
            <a:solidFill>
              <a:srgbClr val="3138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8" name="Freeform 112">
              <a:extLst>
                <a:ext uri="{FF2B5EF4-FFF2-40B4-BE49-F238E27FC236}">
                  <a16:creationId xmlns:a16="http://schemas.microsoft.com/office/drawing/2014/main" id="{60855D0E-A7D5-E71A-1839-EA3BA2B66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056" y="5440332"/>
              <a:ext cx="61807" cy="86385"/>
            </a:xfrm>
            <a:custGeom>
              <a:avLst/>
              <a:gdLst>
                <a:gd name="T0" fmla="*/ 111 w 145"/>
                <a:gd name="T1" fmla="*/ 0 h 202"/>
                <a:gd name="T2" fmla="*/ 145 w 145"/>
                <a:gd name="T3" fmla="*/ 37 h 202"/>
                <a:gd name="T4" fmla="*/ 112 w 145"/>
                <a:gd name="T5" fmla="*/ 155 h 202"/>
                <a:gd name="T6" fmla="*/ 95 w 145"/>
                <a:gd name="T7" fmla="*/ 202 h 202"/>
                <a:gd name="T8" fmla="*/ 42 w 145"/>
                <a:gd name="T9" fmla="*/ 167 h 202"/>
                <a:gd name="T10" fmla="*/ 0 w 145"/>
                <a:gd name="T11" fmla="*/ 116 h 202"/>
                <a:gd name="T12" fmla="*/ 111 w 145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202">
                  <a:moveTo>
                    <a:pt x="111" y="0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30" y="108"/>
                    <a:pt x="112" y="155"/>
                  </a:cubicBezTo>
                  <a:cubicBezTo>
                    <a:pt x="95" y="202"/>
                    <a:pt x="95" y="202"/>
                    <a:pt x="95" y="202"/>
                  </a:cubicBezTo>
                  <a:cubicBezTo>
                    <a:pt x="95" y="202"/>
                    <a:pt x="69" y="190"/>
                    <a:pt x="42" y="167"/>
                  </a:cubicBezTo>
                  <a:cubicBezTo>
                    <a:pt x="15" y="144"/>
                    <a:pt x="0" y="116"/>
                    <a:pt x="0" y="116"/>
                  </a:cubicBezTo>
                  <a:lnTo>
                    <a:pt x="111" y="0"/>
                  </a:lnTo>
                  <a:close/>
                </a:path>
              </a:pathLst>
            </a:custGeom>
            <a:solidFill>
              <a:srgbClr val="EBC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69" name="Freeform 113">
              <a:extLst>
                <a:ext uri="{FF2B5EF4-FFF2-40B4-BE49-F238E27FC236}">
                  <a16:creationId xmlns:a16="http://schemas.microsoft.com/office/drawing/2014/main" id="{47AF5DE7-C4DB-F53A-796C-962241D37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8331" y="4923288"/>
              <a:ext cx="52590" cy="87288"/>
            </a:xfrm>
            <a:custGeom>
              <a:avLst/>
              <a:gdLst>
                <a:gd name="T0" fmla="*/ 0 w 123"/>
                <a:gd name="T1" fmla="*/ 112 h 204"/>
                <a:gd name="T2" fmla="*/ 51 w 123"/>
                <a:gd name="T3" fmla="*/ 64 h 204"/>
                <a:gd name="T4" fmla="*/ 78 w 123"/>
                <a:gd name="T5" fmla="*/ 0 h 204"/>
                <a:gd name="T6" fmla="*/ 105 w 123"/>
                <a:gd name="T7" fmla="*/ 25 h 204"/>
                <a:gd name="T8" fmla="*/ 114 w 123"/>
                <a:gd name="T9" fmla="*/ 126 h 204"/>
                <a:gd name="T10" fmla="*/ 100 w 123"/>
                <a:gd name="T11" fmla="*/ 204 h 204"/>
                <a:gd name="T12" fmla="*/ 0 w 123"/>
                <a:gd name="T13" fmla="*/ 1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204">
                  <a:moveTo>
                    <a:pt x="0" y="112"/>
                  </a:moveTo>
                  <a:cubicBezTo>
                    <a:pt x="0" y="112"/>
                    <a:pt x="26" y="101"/>
                    <a:pt x="51" y="64"/>
                  </a:cubicBezTo>
                  <a:cubicBezTo>
                    <a:pt x="76" y="26"/>
                    <a:pt x="78" y="0"/>
                    <a:pt x="78" y="0"/>
                  </a:cubicBezTo>
                  <a:cubicBezTo>
                    <a:pt x="105" y="25"/>
                    <a:pt x="105" y="25"/>
                    <a:pt x="105" y="25"/>
                  </a:cubicBezTo>
                  <a:cubicBezTo>
                    <a:pt x="105" y="25"/>
                    <a:pt x="123" y="69"/>
                    <a:pt x="114" y="126"/>
                  </a:cubicBezTo>
                  <a:cubicBezTo>
                    <a:pt x="105" y="182"/>
                    <a:pt x="100" y="204"/>
                    <a:pt x="100" y="204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0" name="Freeform 114">
              <a:extLst>
                <a:ext uri="{FF2B5EF4-FFF2-40B4-BE49-F238E27FC236}">
                  <a16:creationId xmlns:a16="http://schemas.microsoft.com/office/drawing/2014/main" id="{A9E6F75A-FD2E-C50B-4068-4E7F4AC66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381" y="5423705"/>
              <a:ext cx="47349" cy="148191"/>
            </a:xfrm>
            <a:custGeom>
              <a:avLst/>
              <a:gdLst>
                <a:gd name="T0" fmla="*/ 0 w 111"/>
                <a:gd name="T1" fmla="*/ 251 h 347"/>
                <a:gd name="T2" fmla="*/ 43 w 111"/>
                <a:gd name="T3" fmla="*/ 115 h 347"/>
                <a:gd name="T4" fmla="*/ 59 w 111"/>
                <a:gd name="T5" fmla="*/ 0 h 347"/>
                <a:gd name="T6" fmla="*/ 97 w 111"/>
                <a:gd name="T7" fmla="*/ 0 h 347"/>
                <a:gd name="T8" fmla="*/ 88 w 111"/>
                <a:gd name="T9" fmla="*/ 177 h 347"/>
                <a:gd name="T10" fmla="*/ 8 w 111"/>
                <a:gd name="T11" fmla="*/ 347 h 347"/>
                <a:gd name="T12" fmla="*/ 0 w 111"/>
                <a:gd name="T13" fmla="*/ 25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347">
                  <a:moveTo>
                    <a:pt x="0" y="251"/>
                  </a:moveTo>
                  <a:cubicBezTo>
                    <a:pt x="0" y="251"/>
                    <a:pt x="29" y="182"/>
                    <a:pt x="43" y="115"/>
                  </a:cubicBezTo>
                  <a:cubicBezTo>
                    <a:pt x="57" y="49"/>
                    <a:pt x="59" y="0"/>
                    <a:pt x="59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111" y="85"/>
                    <a:pt x="88" y="177"/>
                  </a:cubicBezTo>
                  <a:cubicBezTo>
                    <a:pt x="65" y="269"/>
                    <a:pt x="8" y="347"/>
                    <a:pt x="8" y="347"/>
                  </a:cubicBezTo>
                  <a:lnTo>
                    <a:pt x="0" y="251"/>
                  </a:lnTo>
                  <a:close/>
                </a:path>
              </a:pathLst>
            </a:custGeom>
            <a:solidFill>
              <a:srgbClr val="373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1" name="Freeform 115">
              <a:extLst>
                <a:ext uri="{FF2B5EF4-FFF2-40B4-BE49-F238E27FC236}">
                  <a16:creationId xmlns:a16="http://schemas.microsoft.com/office/drawing/2014/main" id="{8B4A0F6A-5A6C-FAA1-35BE-05ECC7BB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957" y="5385212"/>
              <a:ext cx="60722" cy="43554"/>
            </a:xfrm>
            <a:custGeom>
              <a:avLst/>
              <a:gdLst>
                <a:gd name="T0" fmla="*/ 135 w 142"/>
                <a:gd name="T1" fmla="*/ 102 h 102"/>
                <a:gd name="T2" fmla="*/ 7 w 142"/>
                <a:gd name="T3" fmla="*/ 102 h 102"/>
                <a:gd name="T4" fmla="*/ 0 w 142"/>
                <a:gd name="T5" fmla="*/ 95 h 102"/>
                <a:gd name="T6" fmla="*/ 0 w 142"/>
                <a:gd name="T7" fmla="*/ 7 h 102"/>
                <a:gd name="T8" fmla="*/ 7 w 142"/>
                <a:gd name="T9" fmla="*/ 0 h 102"/>
                <a:gd name="T10" fmla="*/ 135 w 142"/>
                <a:gd name="T11" fmla="*/ 0 h 102"/>
                <a:gd name="T12" fmla="*/ 142 w 142"/>
                <a:gd name="T13" fmla="*/ 7 h 102"/>
                <a:gd name="T14" fmla="*/ 142 w 142"/>
                <a:gd name="T15" fmla="*/ 95 h 102"/>
                <a:gd name="T16" fmla="*/ 135 w 142"/>
                <a:gd name="T1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02">
                  <a:moveTo>
                    <a:pt x="135" y="102"/>
                  </a:moveTo>
                  <a:cubicBezTo>
                    <a:pt x="7" y="102"/>
                    <a:pt x="7" y="102"/>
                    <a:pt x="7" y="102"/>
                  </a:cubicBezTo>
                  <a:cubicBezTo>
                    <a:pt x="3" y="102"/>
                    <a:pt x="0" y="98"/>
                    <a:pt x="0" y="9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9" y="0"/>
                    <a:pt x="142" y="3"/>
                    <a:pt x="142" y="7"/>
                  </a:cubicBezTo>
                  <a:cubicBezTo>
                    <a:pt x="142" y="95"/>
                    <a:pt x="142" y="95"/>
                    <a:pt x="142" y="95"/>
                  </a:cubicBezTo>
                  <a:cubicBezTo>
                    <a:pt x="142" y="98"/>
                    <a:pt x="139" y="102"/>
                    <a:pt x="135" y="102"/>
                  </a:cubicBez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2" name="Freeform 116">
              <a:extLst>
                <a:ext uri="{FF2B5EF4-FFF2-40B4-BE49-F238E27FC236}">
                  <a16:creationId xmlns:a16="http://schemas.microsoft.com/office/drawing/2014/main" id="{CAEF00CF-0339-3406-A94D-F24ACC294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0320" y="5388645"/>
              <a:ext cx="12650" cy="40120"/>
            </a:xfrm>
            <a:custGeom>
              <a:avLst/>
              <a:gdLst>
                <a:gd name="T0" fmla="*/ 24 w 30"/>
                <a:gd name="T1" fmla="*/ 94 h 94"/>
                <a:gd name="T2" fmla="*/ 6 w 30"/>
                <a:gd name="T3" fmla="*/ 94 h 94"/>
                <a:gd name="T4" fmla="*/ 0 w 30"/>
                <a:gd name="T5" fmla="*/ 88 h 94"/>
                <a:gd name="T6" fmla="*/ 0 w 30"/>
                <a:gd name="T7" fmla="*/ 5 h 94"/>
                <a:gd name="T8" fmla="*/ 6 w 30"/>
                <a:gd name="T9" fmla="*/ 0 h 94"/>
                <a:gd name="T10" fmla="*/ 24 w 30"/>
                <a:gd name="T11" fmla="*/ 0 h 94"/>
                <a:gd name="T12" fmla="*/ 30 w 30"/>
                <a:gd name="T13" fmla="*/ 5 h 94"/>
                <a:gd name="T14" fmla="*/ 30 w 30"/>
                <a:gd name="T15" fmla="*/ 88 h 94"/>
                <a:gd name="T16" fmla="*/ 24 w 30"/>
                <a:gd name="T1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94">
                  <a:moveTo>
                    <a:pt x="24" y="94"/>
                  </a:moveTo>
                  <a:cubicBezTo>
                    <a:pt x="6" y="94"/>
                    <a:pt x="6" y="94"/>
                    <a:pt x="6" y="94"/>
                  </a:cubicBezTo>
                  <a:cubicBezTo>
                    <a:pt x="3" y="94"/>
                    <a:pt x="0" y="91"/>
                    <a:pt x="0" y="8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0" y="91"/>
                    <a:pt x="27" y="94"/>
                    <a:pt x="24" y="94"/>
                  </a:cubicBez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3" name="Freeform 117">
              <a:extLst>
                <a:ext uri="{FF2B5EF4-FFF2-40B4-BE49-F238E27FC236}">
                  <a16:creationId xmlns:a16="http://schemas.microsoft.com/office/drawing/2014/main" id="{2919F32F-A2EB-95A2-CD8C-475189E7C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0200" y="4919855"/>
              <a:ext cx="111505" cy="284636"/>
            </a:xfrm>
            <a:custGeom>
              <a:avLst/>
              <a:gdLst>
                <a:gd name="T0" fmla="*/ 226 w 261"/>
                <a:gd name="T1" fmla="*/ 666 h 666"/>
                <a:gd name="T2" fmla="*/ 210 w 261"/>
                <a:gd name="T3" fmla="*/ 356 h 666"/>
                <a:gd name="T4" fmla="*/ 99 w 261"/>
                <a:gd name="T5" fmla="*/ 0 h 666"/>
                <a:gd name="T6" fmla="*/ 34 w 261"/>
                <a:gd name="T7" fmla="*/ 67 h 666"/>
                <a:gd name="T8" fmla="*/ 0 w 261"/>
                <a:gd name="T9" fmla="*/ 161 h 666"/>
                <a:gd name="T10" fmla="*/ 62 w 261"/>
                <a:gd name="T11" fmla="*/ 207 h 666"/>
                <a:gd name="T12" fmla="*/ 14 w 261"/>
                <a:gd name="T13" fmla="*/ 265 h 666"/>
                <a:gd name="T14" fmla="*/ 226 w 261"/>
                <a:gd name="T15" fmla="*/ 666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1" h="666">
                  <a:moveTo>
                    <a:pt x="226" y="666"/>
                  </a:moveTo>
                  <a:cubicBezTo>
                    <a:pt x="226" y="666"/>
                    <a:pt x="261" y="509"/>
                    <a:pt x="210" y="356"/>
                  </a:cubicBezTo>
                  <a:cubicBezTo>
                    <a:pt x="160" y="202"/>
                    <a:pt x="99" y="0"/>
                    <a:pt x="99" y="0"/>
                  </a:cubicBezTo>
                  <a:cubicBezTo>
                    <a:pt x="99" y="0"/>
                    <a:pt x="66" y="4"/>
                    <a:pt x="34" y="67"/>
                  </a:cubicBezTo>
                  <a:cubicBezTo>
                    <a:pt x="1" y="130"/>
                    <a:pt x="0" y="161"/>
                    <a:pt x="0" y="161"/>
                  </a:cubicBezTo>
                  <a:cubicBezTo>
                    <a:pt x="62" y="207"/>
                    <a:pt x="62" y="207"/>
                    <a:pt x="62" y="207"/>
                  </a:cubicBezTo>
                  <a:cubicBezTo>
                    <a:pt x="14" y="265"/>
                    <a:pt x="14" y="265"/>
                    <a:pt x="14" y="265"/>
                  </a:cubicBezTo>
                  <a:lnTo>
                    <a:pt x="226" y="666"/>
                  </a:lnTo>
                  <a:close/>
                </a:path>
              </a:pathLst>
            </a:custGeom>
            <a:solidFill>
              <a:srgbClr val="2C3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4" name="Freeform 118">
              <a:extLst>
                <a:ext uri="{FF2B5EF4-FFF2-40B4-BE49-F238E27FC236}">
                  <a16:creationId xmlns:a16="http://schemas.microsoft.com/office/drawing/2014/main" id="{0032969D-494B-79EE-A974-BDC8ED224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0500" y="4960517"/>
              <a:ext cx="100119" cy="397767"/>
            </a:xfrm>
            <a:custGeom>
              <a:avLst/>
              <a:gdLst>
                <a:gd name="T0" fmla="*/ 234 w 234"/>
                <a:gd name="T1" fmla="*/ 795 h 931"/>
                <a:gd name="T2" fmla="*/ 212 w 234"/>
                <a:gd name="T3" fmla="*/ 558 h 931"/>
                <a:gd name="T4" fmla="*/ 190 w 234"/>
                <a:gd name="T5" fmla="*/ 322 h 931"/>
                <a:gd name="T6" fmla="*/ 190 w 234"/>
                <a:gd name="T7" fmla="*/ 318 h 931"/>
                <a:gd name="T8" fmla="*/ 189 w 234"/>
                <a:gd name="T9" fmla="*/ 313 h 931"/>
                <a:gd name="T10" fmla="*/ 188 w 234"/>
                <a:gd name="T11" fmla="*/ 305 h 931"/>
                <a:gd name="T12" fmla="*/ 185 w 234"/>
                <a:gd name="T13" fmla="*/ 302 h 931"/>
                <a:gd name="T14" fmla="*/ 144 w 234"/>
                <a:gd name="T15" fmla="*/ 185 h 931"/>
                <a:gd name="T16" fmla="*/ 102 w 234"/>
                <a:gd name="T17" fmla="*/ 68 h 931"/>
                <a:gd name="T18" fmla="*/ 120 w 234"/>
                <a:gd name="T19" fmla="*/ 12 h 931"/>
                <a:gd name="T20" fmla="*/ 120 w 234"/>
                <a:gd name="T21" fmla="*/ 12 h 931"/>
                <a:gd name="T22" fmla="*/ 120 w 234"/>
                <a:gd name="T23" fmla="*/ 11 h 931"/>
                <a:gd name="T24" fmla="*/ 120 w 234"/>
                <a:gd name="T25" fmla="*/ 11 h 931"/>
                <a:gd name="T26" fmla="*/ 118 w 234"/>
                <a:gd name="T27" fmla="*/ 8 h 931"/>
                <a:gd name="T28" fmla="*/ 65 w 234"/>
                <a:gd name="T29" fmla="*/ 1 h 931"/>
                <a:gd name="T30" fmla="*/ 4 w 234"/>
                <a:gd name="T31" fmla="*/ 13 h 931"/>
                <a:gd name="T32" fmla="*/ 0 w 234"/>
                <a:gd name="T33" fmla="*/ 18 h 931"/>
                <a:gd name="T34" fmla="*/ 1 w 234"/>
                <a:gd name="T35" fmla="*/ 22 h 931"/>
                <a:gd name="T36" fmla="*/ 1 w 234"/>
                <a:gd name="T37" fmla="*/ 22 h 931"/>
                <a:gd name="T38" fmla="*/ 2 w 234"/>
                <a:gd name="T39" fmla="*/ 23 h 931"/>
                <a:gd name="T40" fmla="*/ 42 w 234"/>
                <a:gd name="T41" fmla="*/ 59 h 931"/>
                <a:gd name="T42" fmla="*/ 57 w 234"/>
                <a:gd name="T43" fmla="*/ 72 h 931"/>
                <a:gd name="T44" fmla="*/ 31 w 234"/>
                <a:gd name="T45" fmla="*/ 170 h 931"/>
                <a:gd name="T46" fmla="*/ 33 w 234"/>
                <a:gd name="T47" fmla="*/ 479 h 931"/>
                <a:gd name="T48" fmla="*/ 36 w 234"/>
                <a:gd name="T49" fmla="*/ 801 h 931"/>
                <a:gd name="T50" fmla="*/ 147 w 234"/>
                <a:gd name="T51" fmla="*/ 931 h 931"/>
                <a:gd name="T52" fmla="*/ 234 w 234"/>
                <a:gd name="T53" fmla="*/ 795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4" h="931">
                  <a:moveTo>
                    <a:pt x="234" y="795"/>
                  </a:moveTo>
                  <a:cubicBezTo>
                    <a:pt x="227" y="710"/>
                    <a:pt x="220" y="642"/>
                    <a:pt x="212" y="558"/>
                  </a:cubicBezTo>
                  <a:cubicBezTo>
                    <a:pt x="205" y="479"/>
                    <a:pt x="201" y="400"/>
                    <a:pt x="190" y="322"/>
                  </a:cubicBezTo>
                  <a:cubicBezTo>
                    <a:pt x="191" y="321"/>
                    <a:pt x="191" y="319"/>
                    <a:pt x="190" y="318"/>
                  </a:cubicBezTo>
                  <a:cubicBezTo>
                    <a:pt x="190" y="316"/>
                    <a:pt x="189" y="315"/>
                    <a:pt x="189" y="313"/>
                  </a:cubicBezTo>
                  <a:cubicBezTo>
                    <a:pt x="188" y="311"/>
                    <a:pt x="188" y="308"/>
                    <a:pt x="188" y="305"/>
                  </a:cubicBezTo>
                  <a:cubicBezTo>
                    <a:pt x="187" y="304"/>
                    <a:pt x="186" y="303"/>
                    <a:pt x="185" y="302"/>
                  </a:cubicBezTo>
                  <a:cubicBezTo>
                    <a:pt x="173" y="263"/>
                    <a:pt x="158" y="224"/>
                    <a:pt x="144" y="185"/>
                  </a:cubicBezTo>
                  <a:cubicBezTo>
                    <a:pt x="131" y="146"/>
                    <a:pt x="118" y="106"/>
                    <a:pt x="102" y="68"/>
                  </a:cubicBezTo>
                  <a:cubicBezTo>
                    <a:pt x="109" y="50"/>
                    <a:pt x="115" y="31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1"/>
                    <a:pt x="120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0"/>
                    <a:pt x="120" y="9"/>
                    <a:pt x="118" y="8"/>
                  </a:cubicBezTo>
                  <a:cubicBezTo>
                    <a:pt x="102" y="1"/>
                    <a:pt x="83" y="0"/>
                    <a:pt x="65" y="1"/>
                  </a:cubicBezTo>
                  <a:cubicBezTo>
                    <a:pt x="45" y="2"/>
                    <a:pt x="23" y="6"/>
                    <a:pt x="4" y="13"/>
                  </a:cubicBezTo>
                  <a:cubicBezTo>
                    <a:pt x="2" y="14"/>
                    <a:pt x="1" y="16"/>
                    <a:pt x="0" y="18"/>
                  </a:cubicBezTo>
                  <a:cubicBezTo>
                    <a:pt x="0" y="19"/>
                    <a:pt x="0" y="21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15" y="35"/>
                    <a:pt x="28" y="47"/>
                    <a:pt x="42" y="59"/>
                  </a:cubicBezTo>
                  <a:cubicBezTo>
                    <a:pt x="47" y="63"/>
                    <a:pt x="52" y="68"/>
                    <a:pt x="57" y="72"/>
                  </a:cubicBezTo>
                  <a:cubicBezTo>
                    <a:pt x="46" y="102"/>
                    <a:pt x="34" y="158"/>
                    <a:pt x="31" y="170"/>
                  </a:cubicBezTo>
                  <a:cubicBezTo>
                    <a:pt x="26" y="273"/>
                    <a:pt x="32" y="377"/>
                    <a:pt x="33" y="479"/>
                  </a:cubicBezTo>
                  <a:cubicBezTo>
                    <a:pt x="34" y="586"/>
                    <a:pt x="36" y="801"/>
                    <a:pt x="36" y="801"/>
                  </a:cubicBezTo>
                  <a:cubicBezTo>
                    <a:pt x="147" y="931"/>
                    <a:pt x="147" y="931"/>
                    <a:pt x="147" y="931"/>
                  </a:cubicBezTo>
                  <a:cubicBezTo>
                    <a:pt x="147" y="931"/>
                    <a:pt x="204" y="857"/>
                    <a:pt x="234" y="795"/>
                  </a:cubicBezTo>
                  <a:close/>
                </a:path>
              </a:pathLst>
            </a:custGeom>
            <a:solidFill>
              <a:srgbClr val="406E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5" name="Freeform 119">
              <a:extLst>
                <a:ext uri="{FF2B5EF4-FFF2-40B4-BE49-F238E27FC236}">
                  <a16:creationId xmlns:a16="http://schemas.microsoft.com/office/drawing/2014/main" id="{5610E847-C478-4DBA-E55D-D49EBB786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173" y="5428766"/>
              <a:ext cx="61084" cy="151264"/>
            </a:xfrm>
            <a:custGeom>
              <a:avLst/>
              <a:gdLst>
                <a:gd name="T0" fmla="*/ 95 w 143"/>
                <a:gd name="T1" fmla="*/ 0 h 354"/>
                <a:gd name="T2" fmla="*/ 143 w 143"/>
                <a:gd name="T3" fmla="*/ 120 h 354"/>
                <a:gd name="T4" fmla="*/ 105 w 143"/>
                <a:gd name="T5" fmla="*/ 354 h 354"/>
                <a:gd name="T6" fmla="*/ 4 w 143"/>
                <a:gd name="T7" fmla="*/ 185 h 354"/>
                <a:gd name="T8" fmla="*/ 95 w 143"/>
                <a:gd name="T9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354">
                  <a:moveTo>
                    <a:pt x="95" y="0"/>
                  </a:moveTo>
                  <a:cubicBezTo>
                    <a:pt x="143" y="120"/>
                    <a:pt x="143" y="120"/>
                    <a:pt x="143" y="120"/>
                  </a:cubicBezTo>
                  <a:cubicBezTo>
                    <a:pt x="105" y="354"/>
                    <a:pt x="105" y="354"/>
                    <a:pt x="105" y="354"/>
                  </a:cubicBezTo>
                  <a:cubicBezTo>
                    <a:pt x="105" y="354"/>
                    <a:pt x="0" y="295"/>
                    <a:pt x="4" y="185"/>
                  </a:cubicBezTo>
                  <a:cubicBezTo>
                    <a:pt x="7" y="7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373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6" name="Freeform 120">
              <a:extLst>
                <a:ext uri="{FF2B5EF4-FFF2-40B4-BE49-F238E27FC236}">
                  <a16:creationId xmlns:a16="http://schemas.microsoft.com/office/drawing/2014/main" id="{EB2CD98A-E64D-4E10-A955-CD5A2333D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333" y="6165385"/>
              <a:ext cx="114577" cy="71927"/>
            </a:xfrm>
            <a:custGeom>
              <a:avLst/>
              <a:gdLst>
                <a:gd name="T0" fmla="*/ 249 w 268"/>
                <a:gd name="T1" fmla="*/ 18 h 168"/>
                <a:gd name="T2" fmla="*/ 254 w 268"/>
                <a:gd name="T3" fmla="*/ 63 h 168"/>
                <a:gd name="T4" fmla="*/ 254 w 268"/>
                <a:gd name="T5" fmla="*/ 108 h 168"/>
                <a:gd name="T6" fmla="*/ 268 w 268"/>
                <a:gd name="T7" fmla="*/ 116 h 168"/>
                <a:gd name="T8" fmla="*/ 268 w 268"/>
                <a:gd name="T9" fmla="*/ 148 h 168"/>
                <a:gd name="T10" fmla="*/ 135 w 268"/>
                <a:gd name="T11" fmla="*/ 168 h 168"/>
                <a:gd name="T12" fmla="*/ 0 w 268"/>
                <a:gd name="T13" fmla="*/ 152 h 168"/>
                <a:gd name="T14" fmla="*/ 0 w 268"/>
                <a:gd name="T15" fmla="*/ 118 h 168"/>
                <a:gd name="T16" fmla="*/ 13 w 268"/>
                <a:gd name="T17" fmla="*/ 104 h 168"/>
                <a:gd name="T18" fmla="*/ 32 w 268"/>
                <a:gd name="T19" fmla="*/ 26 h 168"/>
                <a:gd name="T20" fmla="*/ 249 w 268"/>
                <a:gd name="T21" fmla="*/ 1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168">
                  <a:moveTo>
                    <a:pt x="249" y="18"/>
                  </a:moveTo>
                  <a:cubicBezTo>
                    <a:pt x="249" y="18"/>
                    <a:pt x="251" y="37"/>
                    <a:pt x="254" y="63"/>
                  </a:cubicBezTo>
                  <a:cubicBezTo>
                    <a:pt x="256" y="88"/>
                    <a:pt x="254" y="108"/>
                    <a:pt x="254" y="108"/>
                  </a:cubicBezTo>
                  <a:cubicBezTo>
                    <a:pt x="268" y="116"/>
                    <a:pt x="268" y="116"/>
                    <a:pt x="268" y="116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8" y="148"/>
                    <a:pt x="226" y="168"/>
                    <a:pt x="135" y="168"/>
                  </a:cubicBezTo>
                  <a:cubicBezTo>
                    <a:pt x="45" y="168"/>
                    <a:pt x="0" y="152"/>
                    <a:pt x="0" y="152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04"/>
                    <a:pt x="11" y="50"/>
                    <a:pt x="32" y="26"/>
                  </a:cubicBezTo>
                  <a:cubicBezTo>
                    <a:pt x="53" y="2"/>
                    <a:pt x="129" y="0"/>
                    <a:pt x="249" y="18"/>
                  </a:cubicBezTo>
                  <a:close/>
                </a:path>
              </a:pathLst>
            </a:custGeom>
            <a:solidFill>
              <a:srgbClr val="3829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  <p:sp>
          <p:nvSpPr>
            <p:cNvPr id="32377" name="Freeform 121">
              <a:extLst>
                <a:ext uri="{FF2B5EF4-FFF2-40B4-BE49-F238E27FC236}">
                  <a16:creationId xmlns:a16="http://schemas.microsoft.com/office/drawing/2014/main" id="{E8D61091-D974-77CF-E937-C9DF12E9C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355" y="6155626"/>
              <a:ext cx="206022" cy="63614"/>
            </a:xfrm>
            <a:custGeom>
              <a:avLst/>
              <a:gdLst>
                <a:gd name="T0" fmla="*/ 9 w 482"/>
                <a:gd name="T1" fmla="*/ 43 h 149"/>
                <a:gd name="T2" fmla="*/ 0 w 482"/>
                <a:gd name="T3" fmla="*/ 125 h 149"/>
                <a:gd name="T4" fmla="*/ 126 w 482"/>
                <a:gd name="T5" fmla="*/ 135 h 149"/>
                <a:gd name="T6" fmla="*/ 150 w 482"/>
                <a:gd name="T7" fmla="*/ 115 h 149"/>
                <a:gd name="T8" fmla="*/ 220 w 482"/>
                <a:gd name="T9" fmla="*/ 140 h 149"/>
                <a:gd name="T10" fmla="*/ 390 w 482"/>
                <a:gd name="T11" fmla="*/ 144 h 149"/>
                <a:gd name="T12" fmla="*/ 472 w 482"/>
                <a:gd name="T13" fmla="*/ 118 h 149"/>
                <a:gd name="T14" fmla="*/ 436 w 482"/>
                <a:gd name="T15" fmla="*/ 51 h 149"/>
                <a:gd name="T16" fmla="*/ 290 w 482"/>
                <a:gd name="T17" fmla="*/ 26 h 149"/>
                <a:gd name="T18" fmla="*/ 262 w 482"/>
                <a:gd name="T19" fmla="*/ 0 h 149"/>
                <a:gd name="T20" fmla="*/ 9 w 482"/>
                <a:gd name="T21" fmla="*/ 4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2" h="149">
                  <a:moveTo>
                    <a:pt x="9" y="43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50" y="115"/>
                    <a:pt x="150" y="115"/>
                    <a:pt x="150" y="115"/>
                  </a:cubicBezTo>
                  <a:cubicBezTo>
                    <a:pt x="150" y="115"/>
                    <a:pt x="168" y="134"/>
                    <a:pt x="220" y="140"/>
                  </a:cubicBezTo>
                  <a:cubicBezTo>
                    <a:pt x="273" y="146"/>
                    <a:pt x="333" y="149"/>
                    <a:pt x="390" y="144"/>
                  </a:cubicBezTo>
                  <a:cubicBezTo>
                    <a:pt x="448" y="139"/>
                    <a:pt x="472" y="118"/>
                    <a:pt x="472" y="118"/>
                  </a:cubicBezTo>
                  <a:cubicBezTo>
                    <a:pt x="472" y="118"/>
                    <a:pt x="482" y="60"/>
                    <a:pt x="436" y="51"/>
                  </a:cubicBezTo>
                  <a:cubicBezTo>
                    <a:pt x="391" y="42"/>
                    <a:pt x="315" y="37"/>
                    <a:pt x="290" y="26"/>
                  </a:cubicBezTo>
                  <a:cubicBezTo>
                    <a:pt x="267" y="15"/>
                    <a:pt x="262" y="0"/>
                    <a:pt x="262" y="0"/>
                  </a:cubicBezTo>
                  <a:cubicBezTo>
                    <a:pt x="262" y="0"/>
                    <a:pt x="138" y="49"/>
                    <a:pt x="9" y="43"/>
                  </a:cubicBezTo>
                  <a:close/>
                </a:path>
              </a:pathLst>
            </a:custGeom>
            <a:solidFill>
              <a:srgbClr val="3829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US" sz="1463">
                <a:solidFill>
                  <a:srgbClr val="000000"/>
                </a:solidFill>
              </a:endParaRPr>
            </a:p>
          </p:txBody>
        </p:sp>
      </p:grpSp>
      <p:cxnSp>
        <p:nvCxnSpPr>
          <p:cNvPr id="32405" name="Straight Connector 32404">
            <a:extLst>
              <a:ext uri="{FF2B5EF4-FFF2-40B4-BE49-F238E27FC236}">
                <a16:creationId xmlns:a16="http://schemas.microsoft.com/office/drawing/2014/main" id="{EFDE264A-62DD-C3D8-0875-71516A9FFFA1}"/>
              </a:ext>
            </a:extLst>
          </p:cNvPr>
          <p:cNvCxnSpPr/>
          <p:nvPr/>
        </p:nvCxnSpPr>
        <p:spPr>
          <a:xfrm flipV="1">
            <a:off x="1016452" y="2834888"/>
            <a:ext cx="6628686" cy="12939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06" name="Straight Connector 32405">
            <a:extLst>
              <a:ext uri="{FF2B5EF4-FFF2-40B4-BE49-F238E27FC236}">
                <a16:creationId xmlns:a16="http://schemas.microsoft.com/office/drawing/2014/main" id="{DA205F17-0453-BC7F-2C87-06B4231BC9CA}"/>
              </a:ext>
            </a:extLst>
          </p:cNvPr>
          <p:cNvCxnSpPr/>
          <p:nvPr/>
        </p:nvCxnSpPr>
        <p:spPr>
          <a:xfrm flipV="1">
            <a:off x="1011719" y="4467984"/>
            <a:ext cx="6628686" cy="12939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07" name="Straight Connector 32406">
            <a:extLst>
              <a:ext uri="{FF2B5EF4-FFF2-40B4-BE49-F238E27FC236}">
                <a16:creationId xmlns:a16="http://schemas.microsoft.com/office/drawing/2014/main" id="{C20348AB-2B4E-8DE0-4DD3-EEB3F514804F}"/>
              </a:ext>
            </a:extLst>
          </p:cNvPr>
          <p:cNvCxnSpPr>
            <a:cxnSpLocks/>
          </p:cNvCxnSpPr>
          <p:nvPr/>
        </p:nvCxnSpPr>
        <p:spPr>
          <a:xfrm>
            <a:off x="8094369" y="1642400"/>
            <a:ext cx="0" cy="4407211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409" name="Group 32408">
            <a:extLst>
              <a:ext uri="{FF2B5EF4-FFF2-40B4-BE49-F238E27FC236}">
                <a16:creationId xmlns:a16="http://schemas.microsoft.com/office/drawing/2014/main" id="{1045722C-2ABA-02C8-626D-A8BD6D992275}"/>
              </a:ext>
            </a:extLst>
          </p:cNvPr>
          <p:cNvGrpSpPr/>
          <p:nvPr/>
        </p:nvGrpSpPr>
        <p:grpSpPr>
          <a:xfrm>
            <a:off x="9761380" y="1855649"/>
            <a:ext cx="527856" cy="533401"/>
            <a:chOff x="6899275" y="2185988"/>
            <a:chExt cx="755650" cy="763588"/>
          </a:xfrm>
        </p:grpSpPr>
        <p:sp>
          <p:nvSpPr>
            <p:cNvPr id="32410" name="Freeform 486">
              <a:extLst>
                <a:ext uri="{FF2B5EF4-FFF2-40B4-BE49-F238E27FC236}">
                  <a16:creationId xmlns:a16="http://schemas.microsoft.com/office/drawing/2014/main" id="{FE9494E6-7E4B-4776-72C4-E8EBF08A1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2274888"/>
              <a:ext cx="755650" cy="674688"/>
            </a:xfrm>
            <a:custGeom>
              <a:avLst/>
              <a:gdLst>
                <a:gd name="T0" fmla="*/ 24 w 476"/>
                <a:gd name="T1" fmla="*/ 425 h 425"/>
                <a:gd name="T2" fmla="*/ 0 w 476"/>
                <a:gd name="T3" fmla="*/ 403 h 425"/>
                <a:gd name="T4" fmla="*/ 24 w 476"/>
                <a:gd name="T5" fmla="*/ 195 h 425"/>
                <a:gd name="T6" fmla="*/ 143 w 476"/>
                <a:gd name="T7" fmla="*/ 0 h 425"/>
                <a:gd name="T8" fmla="*/ 476 w 476"/>
                <a:gd name="T9" fmla="*/ 0 h 425"/>
                <a:gd name="T10" fmla="*/ 476 w 476"/>
                <a:gd name="T11" fmla="*/ 124 h 425"/>
                <a:gd name="T12" fmla="*/ 476 w 476"/>
                <a:gd name="T13" fmla="*/ 287 h 425"/>
                <a:gd name="T14" fmla="*/ 476 w 476"/>
                <a:gd name="T15" fmla="*/ 425 h 425"/>
                <a:gd name="T16" fmla="*/ 24 w 476"/>
                <a:gd name="T17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" h="425">
                  <a:moveTo>
                    <a:pt x="24" y="425"/>
                  </a:moveTo>
                  <a:lnTo>
                    <a:pt x="0" y="403"/>
                  </a:lnTo>
                  <a:lnTo>
                    <a:pt x="24" y="195"/>
                  </a:lnTo>
                  <a:lnTo>
                    <a:pt x="143" y="0"/>
                  </a:lnTo>
                  <a:lnTo>
                    <a:pt x="476" y="0"/>
                  </a:lnTo>
                  <a:lnTo>
                    <a:pt x="476" y="124"/>
                  </a:lnTo>
                  <a:lnTo>
                    <a:pt x="476" y="287"/>
                  </a:lnTo>
                  <a:lnTo>
                    <a:pt x="476" y="425"/>
                  </a:lnTo>
                  <a:lnTo>
                    <a:pt x="24" y="425"/>
                  </a:lnTo>
                  <a:close/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1" name="Freeform 487">
              <a:extLst>
                <a:ext uri="{FF2B5EF4-FFF2-40B4-BE49-F238E27FC236}">
                  <a16:creationId xmlns:a16="http://schemas.microsoft.com/office/drawing/2014/main" id="{3891CB0C-C2B1-28E9-BE31-048032DC9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2882900"/>
              <a:ext cx="755650" cy="66675"/>
            </a:xfrm>
            <a:custGeom>
              <a:avLst/>
              <a:gdLst>
                <a:gd name="T0" fmla="*/ 24 w 476"/>
                <a:gd name="T1" fmla="*/ 42 h 42"/>
                <a:gd name="T2" fmla="*/ 0 w 476"/>
                <a:gd name="T3" fmla="*/ 20 h 42"/>
                <a:gd name="T4" fmla="*/ 430 w 476"/>
                <a:gd name="T5" fmla="*/ 0 h 42"/>
                <a:gd name="T6" fmla="*/ 476 w 476"/>
                <a:gd name="T7" fmla="*/ 42 h 42"/>
                <a:gd name="T8" fmla="*/ 24 w 476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42">
                  <a:moveTo>
                    <a:pt x="24" y="42"/>
                  </a:moveTo>
                  <a:lnTo>
                    <a:pt x="0" y="20"/>
                  </a:lnTo>
                  <a:lnTo>
                    <a:pt x="430" y="0"/>
                  </a:lnTo>
                  <a:lnTo>
                    <a:pt x="476" y="42"/>
                  </a:lnTo>
                  <a:lnTo>
                    <a:pt x="24" y="42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2" name="Freeform 488">
              <a:extLst>
                <a:ext uri="{FF2B5EF4-FFF2-40B4-BE49-F238E27FC236}">
                  <a16:creationId xmlns:a16="http://schemas.microsoft.com/office/drawing/2014/main" id="{DF342180-D197-1034-542E-0F2F159A6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6825" y="2241550"/>
              <a:ext cx="38100" cy="196850"/>
            </a:xfrm>
            <a:custGeom>
              <a:avLst/>
              <a:gdLst>
                <a:gd name="T0" fmla="*/ 24 w 24"/>
                <a:gd name="T1" fmla="*/ 124 h 124"/>
                <a:gd name="T2" fmla="*/ 24 w 24"/>
                <a:gd name="T3" fmla="*/ 21 h 124"/>
                <a:gd name="T4" fmla="*/ 0 w 24"/>
                <a:gd name="T5" fmla="*/ 0 h 124"/>
                <a:gd name="T6" fmla="*/ 0 w 24"/>
                <a:gd name="T7" fmla="*/ 101 h 124"/>
                <a:gd name="T8" fmla="*/ 24 w 24"/>
                <a:gd name="T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4">
                  <a:moveTo>
                    <a:pt x="24" y="124"/>
                  </a:moveTo>
                  <a:lnTo>
                    <a:pt x="24" y="21"/>
                  </a:lnTo>
                  <a:lnTo>
                    <a:pt x="0" y="0"/>
                  </a:lnTo>
                  <a:lnTo>
                    <a:pt x="0" y="101"/>
                  </a:lnTo>
                  <a:lnTo>
                    <a:pt x="24" y="124"/>
                  </a:lnTo>
                  <a:close/>
                </a:path>
              </a:pathLst>
            </a:custGeom>
            <a:solidFill>
              <a:srgbClr val="B42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3" name="Freeform 489">
              <a:extLst>
                <a:ext uri="{FF2B5EF4-FFF2-40B4-BE49-F238E27FC236}">
                  <a16:creationId xmlns:a16="http://schemas.microsoft.com/office/drawing/2014/main" id="{76A5B842-C71E-4D33-52BA-9E514771B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2241550"/>
              <a:ext cx="717550" cy="673100"/>
            </a:xfrm>
            <a:custGeom>
              <a:avLst/>
              <a:gdLst>
                <a:gd name="T0" fmla="*/ 0 w 452"/>
                <a:gd name="T1" fmla="*/ 424 h 424"/>
                <a:gd name="T2" fmla="*/ 0 w 452"/>
                <a:gd name="T3" fmla="*/ 285 h 424"/>
                <a:gd name="T4" fmla="*/ 0 w 452"/>
                <a:gd name="T5" fmla="*/ 119 h 424"/>
                <a:gd name="T6" fmla="*/ 120 w 452"/>
                <a:gd name="T7" fmla="*/ 0 h 424"/>
                <a:gd name="T8" fmla="*/ 452 w 452"/>
                <a:gd name="T9" fmla="*/ 0 h 424"/>
                <a:gd name="T10" fmla="*/ 452 w 452"/>
                <a:gd name="T11" fmla="*/ 123 h 424"/>
                <a:gd name="T12" fmla="*/ 452 w 452"/>
                <a:gd name="T13" fmla="*/ 285 h 424"/>
                <a:gd name="T14" fmla="*/ 452 w 452"/>
                <a:gd name="T15" fmla="*/ 424 h 424"/>
                <a:gd name="T16" fmla="*/ 0 w 452"/>
                <a:gd name="T1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2" h="424">
                  <a:moveTo>
                    <a:pt x="0" y="424"/>
                  </a:moveTo>
                  <a:lnTo>
                    <a:pt x="0" y="285"/>
                  </a:lnTo>
                  <a:lnTo>
                    <a:pt x="0" y="119"/>
                  </a:lnTo>
                  <a:lnTo>
                    <a:pt x="120" y="0"/>
                  </a:lnTo>
                  <a:lnTo>
                    <a:pt x="452" y="0"/>
                  </a:lnTo>
                  <a:lnTo>
                    <a:pt x="452" y="123"/>
                  </a:lnTo>
                  <a:lnTo>
                    <a:pt x="452" y="285"/>
                  </a:lnTo>
                  <a:lnTo>
                    <a:pt x="452" y="424"/>
                  </a:lnTo>
                  <a:lnTo>
                    <a:pt x="0" y="424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4" name="Freeform 490">
              <a:extLst>
                <a:ext uri="{FF2B5EF4-FFF2-40B4-BE49-F238E27FC236}">
                  <a16:creationId xmlns:a16="http://schemas.microsoft.com/office/drawing/2014/main" id="{89F4BAFF-AF3C-793E-6E4A-3C0A6B91B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2241550"/>
              <a:ext cx="717550" cy="673100"/>
            </a:xfrm>
            <a:custGeom>
              <a:avLst/>
              <a:gdLst>
                <a:gd name="T0" fmla="*/ 452 w 452"/>
                <a:gd name="T1" fmla="*/ 0 h 424"/>
                <a:gd name="T2" fmla="*/ 452 w 452"/>
                <a:gd name="T3" fmla="*/ 138 h 424"/>
                <a:gd name="T4" fmla="*/ 452 w 452"/>
                <a:gd name="T5" fmla="*/ 320 h 424"/>
                <a:gd name="T6" fmla="*/ 348 w 452"/>
                <a:gd name="T7" fmla="*/ 424 h 424"/>
                <a:gd name="T8" fmla="*/ 0 w 452"/>
                <a:gd name="T9" fmla="*/ 424 h 424"/>
                <a:gd name="T10" fmla="*/ 0 w 452"/>
                <a:gd name="T11" fmla="*/ 300 h 424"/>
                <a:gd name="T12" fmla="*/ 0 w 452"/>
                <a:gd name="T13" fmla="*/ 138 h 424"/>
                <a:gd name="T14" fmla="*/ 0 w 452"/>
                <a:gd name="T15" fmla="*/ 0 h 424"/>
                <a:gd name="T16" fmla="*/ 452 w 452"/>
                <a:gd name="T17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2" h="424">
                  <a:moveTo>
                    <a:pt x="452" y="0"/>
                  </a:moveTo>
                  <a:lnTo>
                    <a:pt x="452" y="138"/>
                  </a:lnTo>
                  <a:lnTo>
                    <a:pt x="452" y="320"/>
                  </a:lnTo>
                  <a:lnTo>
                    <a:pt x="348" y="424"/>
                  </a:lnTo>
                  <a:lnTo>
                    <a:pt x="0" y="424"/>
                  </a:lnTo>
                  <a:lnTo>
                    <a:pt x="0" y="300"/>
                  </a:lnTo>
                  <a:lnTo>
                    <a:pt x="0" y="138"/>
                  </a:lnTo>
                  <a:lnTo>
                    <a:pt x="0" y="0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5" name="Rectangle 491">
              <a:extLst>
                <a:ext uri="{FF2B5EF4-FFF2-40B4-BE49-F238E27FC236}">
                  <a16:creationId xmlns:a16="http://schemas.microsoft.com/office/drawing/2014/main" id="{27A445A3-8651-20A1-2A64-A02B3A34ED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9275" y="2241550"/>
              <a:ext cx="717550" cy="160338"/>
            </a:xfrm>
            <a:prstGeom prst="rect">
              <a:avLst/>
            </a:prstGeom>
            <a:solidFill>
              <a:srgbClr val="CB22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6" name="Oval 492">
              <a:extLst>
                <a:ext uri="{FF2B5EF4-FFF2-40B4-BE49-F238E27FC236}">
                  <a16:creationId xmlns:a16="http://schemas.microsoft.com/office/drawing/2014/main" id="{36DBB695-E8CA-C0BE-C5E0-FA7FE1156F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3738" y="2305050"/>
              <a:ext cx="65088" cy="65088"/>
            </a:xfrm>
            <a:prstGeom prst="ellipse">
              <a:avLst/>
            </a:prstGeom>
            <a:solidFill>
              <a:srgbClr val="B42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7" name="Freeform 493">
              <a:extLst>
                <a:ext uri="{FF2B5EF4-FFF2-40B4-BE49-F238E27FC236}">
                  <a16:creationId xmlns:a16="http://schemas.microsoft.com/office/drawing/2014/main" id="{D3D62D9C-A07D-BDC5-38CD-997DEDBCF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8175" y="2185988"/>
              <a:ext cx="134938" cy="166688"/>
            </a:xfrm>
            <a:custGeom>
              <a:avLst/>
              <a:gdLst>
                <a:gd name="T0" fmla="*/ 48 w 76"/>
                <a:gd name="T1" fmla="*/ 77 h 94"/>
                <a:gd name="T2" fmla="*/ 42 w 76"/>
                <a:gd name="T3" fmla="*/ 77 h 94"/>
                <a:gd name="T4" fmla="*/ 31 w 76"/>
                <a:gd name="T5" fmla="*/ 66 h 94"/>
                <a:gd name="T6" fmla="*/ 31 w 76"/>
                <a:gd name="T7" fmla="*/ 28 h 94"/>
                <a:gd name="T8" fmla="*/ 42 w 76"/>
                <a:gd name="T9" fmla="*/ 17 h 94"/>
                <a:gd name="T10" fmla="*/ 48 w 76"/>
                <a:gd name="T11" fmla="*/ 17 h 94"/>
                <a:gd name="T12" fmla="*/ 58 w 76"/>
                <a:gd name="T13" fmla="*/ 27 h 94"/>
                <a:gd name="T14" fmla="*/ 76 w 76"/>
                <a:gd name="T15" fmla="*/ 27 h 94"/>
                <a:gd name="T16" fmla="*/ 48 w 76"/>
                <a:gd name="T17" fmla="*/ 0 h 94"/>
                <a:gd name="T18" fmla="*/ 28 w 76"/>
                <a:gd name="T19" fmla="*/ 0 h 94"/>
                <a:gd name="T20" fmla="*/ 0 w 76"/>
                <a:gd name="T21" fmla="*/ 28 h 94"/>
                <a:gd name="T22" fmla="*/ 0 w 76"/>
                <a:gd name="T23" fmla="*/ 66 h 94"/>
                <a:gd name="T24" fmla="*/ 28 w 76"/>
                <a:gd name="T25" fmla="*/ 94 h 94"/>
                <a:gd name="T26" fmla="*/ 48 w 76"/>
                <a:gd name="T27" fmla="*/ 94 h 94"/>
                <a:gd name="T28" fmla="*/ 56 w 76"/>
                <a:gd name="T29" fmla="*/ 85 h 94"/>
                <a:gd name="T30" fmla="*/ 48 w 76"/>
                <a:gd name="T31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94">
                  <a:moveTo>
                    <a:pt x="48" y="77"/>
                  </a:moveTo>
                  <a:cubicBezTo>
                    <a:pt x="42" y="77"/>
                    <a:pt x="42" y="77"/>
                    <a:pt x="42" y="77"/>
                  </a:cubicBezTo>
                  <a:cubicBezTo>
                    <a:pt x="36" y="77"/>
                    <a:pt x="31" y="72"/>
                    <a:pt x="31" y="66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2"/>
                    <a:pt x="36" y="17"/>
                    <a:pt x="42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53" y="17"/>
                    <a:pt x="58" y="22"/>
                    <a:pt x="58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5" y="12"/>
                    <a:pt x="63" y="0"/>
                    <a:pt x="4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1"/>
                    <a:pt x="12" y="94"/>
                    <a:pt x="28" y="94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52" y="94"/>
                    <a:pt x="56" y="90"/>
                    <a:pt x="56" y="85"/>
                  </a:cubicBezTo>
                  <a:cubicBezTo>
                    <a:pt x="56" y="80"/>
                    <a:pt x="52" y="77"/>
                    <a:pt x="48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8" name="Freeform 494">
              <a:extLst>
                <a:ext uri="{FF2B5EF4-FFF2-40B4-BE49-F238E27FC236}">
                  <a16:creationId xmlns:a16="http://schemas.microsoft.com/office/drawing/2014/main" id="{AB6F390B-1819-4290-08EA-4BB09325F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275" y="2185988"/>
              <a:ext cx="96838" cy="166688"/>
            </a:xfrm>
            <a:custGeom>
              <a:avLst/>
              <a:gdLst>
                <a:gd name="T0" fmla="*/ 27 w 55"/>
                <a:gd name="T1" fmla="*/ 0 h 94"/>
                <a:gd name="T2" fmla="*/ 0 w 55"/>
                <a:gd name="T3" fmla="*/ 28 h 94"/>
                <a:gd name="T4" fmla="*/ 0 w 55"/>
                <a:gd name="T5" fmla="*/ 66 h 94"/>
                <a:gd name="T6" fmla="*/ 27 w 55"/>
                <a:gd name="T7" fmla="*/ 94 h 94"/>
                <a:gd name="T8" fmla="*/ 35 w 55"/>
                <a:gd name="T9" fmla="*/ 85 h 94"/>
                <a:gd name="T10" fmla="*/ 27 w 55"/>
                <a:gd name="T11" fmla="*/ 77 h 94"/>
                <a:gd name="T12" fmla="*/ 21 w 55"/>
                <a:gd name="T13" fmla="*/ 77 h 94"/>
                <a:gd name="T14" fmla="*/ 10 w 55"/>
                <a:gd name="T15" fmla="*/ 66 h 94"/>
                <a:gd name="T16" fmla="*/ 10 w 55"/>
                <a:gd name="T17" fmla="*/ 28 h 94"/>
                <a:gd name="T18" fmla="*/ 21 w 55"/>
                <a:gd name="T19" fmla="*/ 17 h 94"/>
                <a:gd name="T20" fmla="*/ 27 w 55"/>
                <a:gd name="T21" fmla="*/ 17 h 94"/>
                <a:gd name="T22" fmla="*/ 37 w 55"/>
                <a:gd name="T23" fmla="*/ 27 h 94"/>
                <a:gd name="T24" fmla="*/ 55 w 55"/>
                <a:gd name="T25" fmla="*/ 27 h 94"/>
                <a:gd name="T26" fmla="*/ 27 w 55"/>
                <a:gd name="T2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94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1"/>
                    <a:pt x="12" y="93"/>
                    <a:pt x="27" y="94"/>
                  </a:cubicBezTo>
                  <a:cubicBezTo>
                    <a:pt x="32" y="94"/>
                    <a:pt x="35" y="90"/>
                    <a:pt x="35" y="85"/>
                  </a:cubicBezTo>
                  <a:cubicBezTo>
                    <a:pt x="35" y="80"/>
                    <a:pt x="31" y="77"/>
                    <a:pt x="27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15" y="77"/>
                    <a:pt x="10" y="72"/>
                    <a:pt x="10" y="66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2"/>
                    <a:pt x="15" y="17"/>
                    <a:pt x="21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2" y="17"/>
                    <a:pt x="37" y="22"/>
                    <a:pt x="37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4" y="12"/>
                    <a:pt x="42" y="0"/>
                    <a:pt x="27" y="0"/>
                  </a:cubicBezTo>
                  <a:close/>
                </a:path>
              </a:pathLst>
            </a:custGeom>
            <a:solidFill>
              <a:srgbClr val="C1E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19" name="Oval 495">
              <a:extLst>
                <a:ext uri="{FF2B5EF4-FFF2-40B4-BE49-F238E27FC236}">
                  <a16:creationId xmlns:a16="http://schemas.microsoft.com/office/drawing/2014/main" id="{45659A4B-36D3-F70A-976F-10D8376C3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2038" y="2305050"/>
              <a:ext cx="65088" cy="65088"/>
            </a:xfrm>
            <a:prstGeom prst="ellipse">
              <a:avLst/>
            </a:prstGeom>
            <a:solidFill>
              <a:srgbClr val="B42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0" name="Freeform 496">
              <a:extLst>
                <a:ext uri="{FF2B5EF4-FFF2-40B4-BE49-F238E27FC236}">
                  <a16:creationId xmlns:a16="http://schemas.microsoft.com/office/drawing/2014/main" id="{85EC2BE7-A07D-0784-8B65-9B1AB72AF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4888" y="2185988"/>
              <a:ext cx="136525" cy="166688"/>
            </a:xfrm>
            <a:custGeom>
              <a:avLst/>
              <a:gdLst>
                <a:gd name="T0" fmla="*/ 48 w 77"/>
                <a:gd name="T1" fmla="*/ 77 h 94"/>
                <a:gd name="T2" fmla="*/ 42 w 77"/>
                <a:gd name="T3" fmla="*/ 77 h 94"/>
                <a:gd name="T4" fmla="*/ 31 w 77"/>
                <a:gd name="T5" fmla="*/ 66 h 94"/>
                <a:gd name="T6" fmla="*/ 31 w 77"/>
                <a:gd name="T7" fmla="*/ 28 h 94"/>
                <a:gd name="T8" fmla="*/ 42 w 77"/>
                <a:gd name="T9" fmla="*/ 17 h 94"/>
                <a:gd name="T10" fmla="*/ 48 w 77"/>
                <a:gd name="T11" fmla="*/ 17 h 94"/>
                <a:gd name="T12" fmla="*/ 59 w 77"/>
                <a:gd name="T13" fmla="*/ 27 h 94"/>
                <a:gd name="T14" fmla="*/ 77 w 77"/>
                <a:gd name="T15" fmla="*/ 27 h 94"/>
                <a:gd name="T16" fmla="*/ 48 w 77"/>
                <a:gd name="T17" fmla="*/ 0 h 94"/>
                <a:gd name="T18" fmla="*/ 29 w 77"/>
                <a:gd name="T19" fmla="*/ 0 h 94"/>
                <a:gd name="T20" fmla="*/ 0 w 77"/>
                <a:gd name="T21" fmla="*/ 28 h 94"/>
                <a:gd name="T22" fmla="*/ 0 w 77"/>
                <a:gd name="T23" fmla="*/ 66 h 94"/>
                <a:gd name="T24" fmla="*/ 29 w 77"/>
                <a:gd name="T25" fmla="*/ 94 h 94"/>
                <a:gd name="T26" fmla="*/ 48 w 77"/>
                <a:gd name="T27" fmla="*/ 94 h 94"/>
                <a:gd name="T28" fmla="*/ 57 w 77"/>
                <a:gd name="T29" fmla="*/ 85 h 94"/>
                <a:gd name="T30" fmla="*/ 48 w 77"/>
                <a:gd name="T31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94">
                  <a:moveTo>
                    <a:pt x="48" y="77"/>
                  </a:moveTo>
                  <a:cubicBezTo>
                    <a:pt x="42" y="77"/>
                    <a:pt x="42" y="77"/>
                    <a:pt x="42" y="77"/>
                  </a:cubicBezTo>
                  <a:cubicBezTo>
                    <a:pt x="36" y="77"/>
                    <a:pt x="31" y="72"/>
                    <a:pt x="31" y="66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2"/>
                    <a:pt x="36" y="17"/>
                    <a:pt x="42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54" y="17"/>
                    <a:pt x="59" y="22"/>
                    <a:pt x="5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6" y="12"/>
                    <a:pt x="64" y="0"/>
                    <a:pt x="4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1"/>
                    <a:pt x="13" y="94"/>
                    <a:pt x="29" y="94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53" y="94"/>
                    <a:pt x="57" y="90"/>
                    <a:pt x="57" y="85"/>
                  </a:cubicBezTo>
                  <a:cubicBezTo>
                    <a:pt x="57" y="80"/>
                    <a:pt x="53" y="77"/>
                    <a:pt x="48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1" name="Freeform 497">
              <a:extLst>
                <a:ext uri="{FF2B5EF4-FFF2-40B4-BE49-F238E27FC236}">
                  <a16:creationId xmlns:a16="http://schemas.microsoft.com/office/drawing/2014/main" id="{52251430-A349-E6E6-47A4-6667B23B5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0" y="2185988"/>
              <a:ext cx="100013" cy="166688"/>
            </a:xfrm>
            <a:custGeom>
              <a:avLst/>
              <a:gdLst>
                <a:gd name="T0" fmla="*/ 28 w 56"/>
                <a:gd name="T1" fmla="*/ 0 h 94"/>
                <a:gd name="T2" fmla="*/ 0 w 56"/>
                <a:gd name="T3" fmla="*/ 28 h 94"/>
                <a:gd name="T4" fmla="*/ 0 w 56"/>
                <a:gd name="T5" fmla="*/ 66 h 94"/>
                <a:gd name="T6" fmla="*/ 28 w 56"/>
                <a:gd name="T7" fmla="*/ 94 h 94"/>
                <a:gd name="T8" fmla="*/ 36 w 56"/>
                <a:gd name="T9" fmla="*/ 85 h 94"/>
                <a:gd name="T10" fmla="*/ 27 w 56"/>
                <a:gd name="T11" fmla="*/ 77 h 94"/>
                <a:gd name="T12" fmla="*/ 21 w 56"/>
                <a:gd name="T13" fmla="*/ 77 h 94"/>
                <a:gd name="T14" fmla="*/ 10 w 56"/>
                <a:gd name="T15" fmla="*/ 66 h 94"/>
                <a:gd name="T16" fmla="*/ 10 w 56"/>
                <a:gd name="T17" fmla="*/ 28 h 94"/>
                <a:gd name="T18" fmla="*/ 21 w 56"/>
                <a:gd name="T19" fmla="*/ 17 h 94"/>
                <a:gd name="T20" fmla="*/ 27 w 56"/>
                <a:gd name="T21" fmla="*/ 17 h 94"/>
                <a:gd name="T22" fmla="*/ 38 w 56"/>
                <a:gd name="T23" fmla="*/ 27 h 94"/>
                <a:gd name="T24" fmla="*/ 56 w 56"/>
                <a:gd name="T25" fmla="*/ 27 h 94"/>
                <a:gd name="T26" fmla="*/ 28 w 56"/>
                <a:gd name="T2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4">
                  <a:moveTo>
                    <a:pt x="28" y="0"/>
                  </a:moveTo>
                  <a:cubicBezTo>
                    <a:pt x="13" y="0"/>
                    <a:pt x="0" y="13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1"/>
                    <a:pt x="13" y="93"/>
                    <a:pt x="28" y="94"/>
                  </a:cubicBezTo>
                  <a:cubicBezTo>
                    <a:pt x="33" y="94"/>
                    <a:pt x="36" y="90"/>
                    <a:pt x="36" y="85"/>
                  </a:cubicBezTo>
                  <a:cubicBezTo>
                    <a:pt x="36" y="80"/>
                    <a:pt x="32" y="77"/>
                    <a:pt x="27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15" y="77"/>
                    <a:pt x="10" y="72"/>
                    <a:pt x="10" y="66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2"/>
                    <a:pt x="15" y="17"/>
                    <a:pt x="21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3" y="17"/>
                    <a:pt x="38" y="22"/>
                    <a:pt x="38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12"/>
                    <a:pt x="43" y="0"/>
                    <a:pt x="28" y="0"/>
                  </a:cubicBezTo>
                  <a:close/>
                </a:path>
              </a:pathLst>
            </a:custGeom>
            <a:solidFill>
              <a:srgbClr val="C1E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2" name="Rectangle 498">
              <a:extLst>
                <a:ext uri="{FF2B5EF4-FFF2-40B4-BE49-F238E27FC236}">
                  <a16:creationId xmlns:a16="http://schemas.microsoft.com/office/drawing/2014/main" id="{0A69EEF6-F29C-6B01-F1DD-3BF7CDD4B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2470150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3" name="Rectangle 499">
              <a:extLst>
                <a:ext uri="{FF2B5EF4-FFF2-40B4-BE49-F238E27FC236}">
                  <a16:creationId xmlns:a16="http://schemas.microsoft.com/office/drawing/2014/main" id="{1B65EE9C-CB13-70E9-1DA2-00E7D83AA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2470150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4" name="Rectangle 500">
              <a:extLst>
                <a:ext uri="{FF2B5EF4-FFF2-40B4-BE49-F238E27FC236}">
                  <a16:creationId xmlns:a16="http://schemas.microsoft.com/office/drawing/2014/main" id="{596978D4-9552-9D4D-935A-9BF14C365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938" y="2470150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5" name="Rectangle 501">
              <a:extLst>
                <a:ext uri="{FF2B5EF4-FFF2-40B4-BE49-F238E27FC236}">
                  <a16:creationId xmlns:a16="http://schemas.microsoft.com/office/drawing/2014/main" id="{381353B1-8F2C-3F40-031B-AB2CA03EF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2470150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6" name="Rectangle 502">
              <a:extLst>
                <a:ext uri="{FF2B5EF4-FFF2-40B4-BE49-F238E27FC236}">
                  <a16:creationId xmlns:a16="http://schemas.microsoft.com/office/drawing/2014/main" id="{7C3E9CCD-C537-D879-20E8-1E826BD6E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0913" y="2470150"/>
              <a:ext cx="65088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7" name="Rectangle 503">
              <a:extLst>
                <a:ext uri="{FF2B5EF4-FFF2-40B4-BE49-F238E27FC236}">
                  <a16:creationId xmlns:a16="http://schemas.microsoft.com/office/drawing/2014/main" id="{47BA6448-9E13-588D-DFC6-A5F72C90F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2988" y="2470150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8" name="Rectangle 504">
              <a:extLst>
                <a:ext uri="{FF2B5EF4-FFF2-40B4-BE49-F238E27FC236}">
                  <a16:creationId xmlns:a16="http://schemas.microsoft.com/office/drawing/2014/main" id="{36BDE8AA-6B8D-CC23-82BA-6C85003AE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3475" y="2470150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29" name="Rectangle 505">
              <a:extLst>
                <a:ext uri="{FF2B5EF4-FFF2-40B4-BE49-F238E27FC236}">
                  <a16:creationId xmlns:a16="http://schemas.microsoft.com/office/drawing/2014/main" id="{E23D1BD7-9BD1-6DFF-51EF-D81EF8502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2557463"/>
              <a:ext cx="61913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0" name="Rectangle 506">
              <a:extLst>
                <a:ext uri="{FF2B5EF4-FFF2-40B4-BE49-F238E27FC236}">
                  <a16:creationId xmlns:a16="http://schemas.microsoft.com/office/drawing/2014/main" id="{C19B7A9F-5DFA-13DF-5BBB-EC1EF8E75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2557463"/>
              <a:ext cx="63500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1" name="Rectangle 507">
              <a:extLst>
                <a:ext uri="{FF2B5EF4-FFF2-40B4-BE49-F238E27FC236}">
                  <a16:creationId xmlns:a16="http://schemas.microsoft.com/office/drawing/2014/main" id="{88EEE659-85CF-0553-2499-18001D92B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938" y="2557463"/>
              <a:ext cx="61913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2" name="Rectangle 508">
              <a:extLst>
                <a:ext uri="{FF2B5EF4-FFF2-40B4-BE49-F238E27FC236}">
                  <a16:creationId xmlns:a16="http://schemas.microsoft.com/office/drawing/2014/main" id="{C946B975-309F-CB66-5214-C56292E51F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2557463"/>
              <a:ext cx="63500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3" name="Rectangle 509">
              <a:extLst>
                <a:ext uri="{FF2B5EF4-FFF2-40B4-BE49-F238E27FC236}">
                  <a16:creationId xmlns:a16="http://schemas.microsoft.com/office/drawing/2014/main" id="{1B39BDE0-6C3A-5E5F-2FEC-F0E118B94B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0913" y="2557463"/>
              <a:ext cx="65088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4" name="Rectangle 510">
              <a:extLst>
                <a:ext uri="{FF2B5EF4-FFF2-40B4-BE49-F238E27FC236}">
                  <a16:creationId xmlns:a16="http://schemas.microsoft.com/office/drawing/2014/main" id="{8FC64843-3E33-E604-69BC-86A4BE175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2988" y="2557463"/>
              <a:ext cx="61913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5" name="Rectangle 511">
              <a:extLst>
                <a:ext uri="{FF2B5EF4-FFF2-40B4-BE49-F238E27FC236}">
                  <a16:creationId xmlns:a16="http://schemas.microsoft.com/office/drawing/2014/main" id="{1A914BC4-A62E-C911-684D-63A2A9429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3475" y="2557463"/>
              <a:ext cx="63500" cy="650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6" name="Rectangle 512">
              <a:extLst>
                <a:ext uri="{FF2B5EF4-FFF2-40B4-BE49-F238E27FC236}">
                  <a16:creationId xmlns:a16="http://schemas.microsoft.com/office/drawing/2014/main" id="{284F6D08-ED61-D95A-A2D2-F1DA1DF17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2644775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7" name="Rectangle 513">
              <a:extLst>
                <a:ext uri="{FF2B5EF4-FFF2-40B4-BE49-F238E27FC236}">
                  <a16:creationId xmlns:a16="http://schemas.microsoft.com/office/drawing/2014/main" id="{B549E1FA-C019-B430-E041-0EC5700B1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2644775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8" name="Rectangle 514">
              <a:extLst>
                <a:ext uri="{FF2B5EF4-FFF2-40B4-BE49-F238E27FC236}">
                  <a16:creationId xmlns:a16="http://schemas.microsoft.com/office/drawing/2014/main" id="{5D5F251F-1FC6-FB7B-800E-2B3AE7369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938" y="2644775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39" name="Rectangle 515">
              <a:extLst>
                <a:ext uri="{FF2B5EF4-FFF2-40B4-BE49-F238E27FC236}">
                  <a16:creationId xmlns:a16="http://schemas.microsoft.com/office/drawing/2014/main" id="{BAF010C8-9D42-0980-FD12-C5001D29B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2644775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0" name="Rectangle 516">
              <a:extLst>
                <a:ext uri="{FF2B5EF4-FFF2-40B4-BE49-F238E27FC236}">
                  <a16:creationId xmlns:a16="http://schemas.microsoft.com/office/drawing/2014/main" id="{F6917B5C-6067-AF9D-792F-EBD990ED5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0913" y="2644775"/>
              <a:ext cx="65088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1" name="Rectangle 517">
              <a:extLst>
                <a:ext uri="{FF2B5EF4-FFF2-40B4-BE49-F238E27FC236}">
                  <a16:creationId xmlns:a16="http://schemas.microsoft.com/office/drawing/2014/main" id="{B8E55918-EFBA-A6FF-D1BA-3B636CB11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2988" y="2644775"/>
              <a:ext cx="61913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2" name="Rectangle 518">
              <a:extLst>
                <a:ext uri="{FF2B5EF4-FFF2-40B4-BE49-F238E27FC236}">
                  <a16:creationId xmlns:a16="http://schemas.microsoft.com/office/drawing/2014/main" id="{D69447BE-1C31-5FC1-7ED6-37F289F49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3475" y="2644775"/>
              <a:ext cx="63500" cy="63500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3" name="Rectangle 519">
              <a:extLst>
                <a:ext uri="{FF2B5EF4-FFF2-40B4-BE49-F238E27FC236}">
                  <a16:creationId xmlns:a16="http://schemas.microsoft.com/office/drawing/2014/main" id="{673E295D-A794-26D8-801D-81B7B7855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2733675"/>
              <a:ext cx="61913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4" name="Rectangle 520">
              <a:extLst>
                <a:ext uri="{FF2B5EF4-FFF2-40B4-BE49-F238E27FC236}">
                  <a16:creationId xmlns:a16="http://schemas.microsoft.com/office/drawing/2014/main" id="{38343D59-37DD-84AB-8417-C20FA08A82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2733675"/>
              <a:ext cx="63500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5" name="Rectangle 521">
              <a:extLst>
                <a:ext uri="{FF2B5EF4-FFF2-40B4-BE49-F238E27FC236}">
                  <a16:creationId xmlns:a16="http://schemas.microsoft.com/office/drawing/2014/main" id="{76BB7447-8F34-7B73-AD9B-4F9048A51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938" y="2733675"/>
              <a:ext cx="61913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6" name="Rectangle 522">
              <a:extLst>
                <a:ext uri="{FF2B5EF4-FFF2-40B4-BE49-F238E27FC236}">
                  <a16:creationId xmlns:a16="http://schemas.microsoft.com/office/drawing/2014/main" id="{6D66342A-11CB-0495-B872-399F88AA99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2733675"/>
              <a:ext cx="63500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7" name="Rectangle 523">
              <a:extLst>
                <a:ext uri="{FF2B5EF4-FFF2-40B4-BE49-F238E27FC236}">
                  <a16:creationId xmlns:a16="http://schemas.microsoft.com/office/drawing/2014/main" id="{7F511E48-8E87-D644-C853-EB96ABF9F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0913" y="2733675"/>
              <a:ext cx="65088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8" name="Rectangle 524">
              <a:extLst>
                <a:ext uri="{FF2B5EF4-FFF2-40B4-BE49-F238E27FC236}">
                  <a16:creationId xmlns:a16="http://schemas.microsoft.com/office/drawing/2014/main" id="{8833A1B1-FE9C-B617-066F-99CEA2BE0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2988" y="2733675"/>
              <a:ext cx="61913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49" name="Rectangle 525">
              <a:extLst>
                <a:ext uri="{FF2B5EF4-FFF2-40B4-BE49-F238E27FC236}">
                  <a16:creationId xmlns:a16="http://schemas.microsoft.com/office/drawing/2014/main" id="{017A5788-E62C-838C-4B14-123415705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3475" y="2733675"/>
              <a:ext cx="63500" cy="61913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  <p:sp>
          <p:nvSpPr>
            <p:cNvPr id="32450" name="Freeform 526">
              <a:extLst>
                <a:ext uri="{FF2B5EF4-FFF2-40B4-BE49-F238E27FC236}">
                  <a16:creationId xmlns:a16="http://schemas.microsoft.com/office/drawing/2014/main" id="{FC449AE1-D998-E0F1-7113-87B005301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725" y="2749550"/>
              <a:ext cx="165100" cy="165100"/>
            </a:xfrm>
            <a:custGeom>
              <a:avLst/>
              <a:gdLst>
                <a:gd name="T0" fmla="*/ 0 w 104"/>
                <a:gd name="T1" fmla="*/ 0 h 104"/>
                <a:gd name="T2" fmla="*/ 104 w 104"/>
                <a:gd name="T3" fmla="*/ 0 h 104"/>
                <a:gd name="T4" fmla="*/ 0 w 104"/>
                <a:gd name="T5" fmla="*/ 104 h 104"/>
                <a:gd name="T6" fmla="*/ 0 w 104"/>
                <a:gd name="T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04">
                  <a:moveTo>
                    <a:pt x="0" y="0"/>
                  </a:moveTo>
                  <a:lnTo>
                    <a:pt x="104" y="0"/>
                  </a:ln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</a:endParaRPr>
            </a:p>
          </p:txBody>
        </p:sp>
      </p:grpSp>
      <p:sp>
        <p:nvSpPr>
          <p:cNvPr id="32451" name="TextBox 32450">
            <a:extLst>
              <a:ext uri="{FF2B5EF4-FFF2-40B4-BE49-F238E27FC236}">
                <a16:creationId xmlns:a16="http://schemas.microsoft.com/office/drawing/2014/main" id="{D45A9BFD-BF82-D214-8F2B-B8A21D7C76AD}"/>
              </a:ext>
            </a:extLst>
          </p:cNvPr>
          <p:cNvSpPr txBox="1"/>
          <p:nvPr/>
        </p:nvSpPr>
        <p:spPr>
          <a:xfrm>
            <a:off x="8361477" y="2664036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rgbClr val="098E7E"/>
                </a:solidFill>
              </a:rPr>
              <a:t>Δημοσίευση διακήρυξης</a:t>
            </a:r>
          </a:p>
        </p:txBody>
      </p:sp>
      <p:sp>
        <p:nvSpPr>
          <p:cNvPr id="32452" name="TextBox 32451">
            <a:extLst>
              <a:ext uri="{FF2B5EF4-FFF2-40B4-BE49-F238E27FC236}">
                <a16:creationId xmlns:a16="http://schemas.microsoft.com/office/drawing/2014/main" id="{22D54B3E-C090-538D-46F2-27BB96C84B2C}"/>
              </a:ext>
            </a:extLst>
          </p:cNvPr>
          <p:cNvSpPr txBox="1"/>
          <p:nvPr/>
        </p:nvSpPr>
        <p:spPr>
          <a:xfrm>
            <a:off x="8361477" y="3006193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chemeClr val="tx2"/>
                </a:solidFill>
              </a:rPr>
              <a:t>26.02.2024</a:t>
            </a:r>
          </a:p>
        </p:txBody>
      </p:sp>
      <p:sp>
        <p:nvSpPr>
          <p:cNvPr id="32455" name="TextBox 32454">
            <a:extLst>
              <a:ext uri="{FF2B5EF4-FFF2-40B4-BE49-F238E27FC236}">
                <a16:creationId xmlns:a16="http://schemas.microsoft.com/office/drawing/2014/main" id="{0ACCB5F0-AD28-C06C-120C-B95CB9FC8EDB}"/>
              </a:ext>
            </a:extLst>
          </p:cNvPr>
          <p:cNvSpPr txBox="1"/>
          <p:nvPr/>
        </p:nvSpPr>
        <p:spPr>
          <a:xfrm>
            <a:off x="8498858" y="3665933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rgbClr val="098E7E"/>
                </a:solidFill>
              </a:rPr>
              <a:t>Ημερομηνία υπογραφής σύμβασης</a:t>
            </a:r>
          </a:p>
        </p:txBody>
      </p:sp>
      <p:sp>
        <p:nvSpPr>
          <p:cNvPr id="32456" name="TextBox 32455">
            <a:extLst>
              <a:ext uri="{FF2B5EF4-FFF2-40B4-BE49-F238E27FC236}">
                <a16:creationId xmlns:a16="http://schemas.microsoft.com/office/drawing/2014/main" id="{2414D85E-CFEE-ADC5-BE81-11963080BCD7}"/>
              </a:ext>
            </a:extLst>
          </p:cNvPr>
          <p:cNvSpPr txBox="1"/>
          <p:nvPr/>
        </p:nvSpPr>
        <p:spPr>
          <a:xfrm>
            <a:off x="8407321" y="4025259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chemeClr val="tx2"/>
                </a:solidFill>
              </a:rPr>
              <a:t>16.04.20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27E461-8869-B50B-9D11-ED6F7911C205}"/>
              </a:ext>
            </a:extLst>
          </p:cNvPr>
          <p:cNvSpPr txBox="1"/>
          <p:nvPr/>
        </p:nvSpPr>
        <p:spPr>
          <a:xfrm>
            <a:off x="8456435" y="4621665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rgbClr val="098E7E"/>
                </a:solidFill>
              </a:rPr>
              <a:t>Χρονοδιάγραμμα υλοποίησης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D67BF-3DF4-31B7-ECB3-402FF87FEFA0}"/>
              </a:ext>
            </a:extLst>
          </p:cNvPr>
          <p:cNvSpPr txBox="1"/>
          <p:nvPr/>
        </p:nvSpPr>
        <p:spPr>
          <a:xfrm>
            <a:off x="8395040" y="5009963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200" b="1" dirty="0">
                <a:solidFill>
                  <a:schemeClr val="tx2"/>
                </a:solidFill>
              </a:rPr>
              <a:t>Έως 31.12.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5962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5" hidden="1">
            <a:extLst>
              <a:ext uri="{FF2B5EF4-FFF2-40B4-BE49-F238E27FC236}">
                <a16:creationId xmlns:a16="http://schemas.microsoft.com/office/drawing/2014/main" id="{E0A9DE27-5CEC-47D2-924E-5875EDE65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23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1746" name="Object 5" hidden="1">
                        <a:extLst>
                          <a:ext uri="{FF2B5EF4-FFF2-40B4-BE49-F238E27FC236}">
                            <a16:creationId xmlns:a16="http://schemas.microsoft.com/office/drawing/2014/main" id="{E0A9DE27-5CEC-47D2-924E-5875EDE652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8F61BB6E-AE80-F35B-A647-C387D4DAC8AF}"/>
              </a:ext>
            </a:extLst>
          </p:cNvPr>
          <p:cNvGrpSpPr/>
          <p:nvPr/>
        </p:nvGrpSpPr>
        <p:grpSpPr>
          <a:xfrm>
            <a:off x="998400" y="1832978"/>
            <a:ext cx="633269" cy="834229"/>
            <a:chOff x="3659188" y="2319338"/>
            <a:chExt cx="1025525" cy="1350963"/>
          </a:xfrm>
        </p:grpSpPr>
        <p:sp>
          <p:nvSpPr>
            <p:cNvPr id="6" name="Freeform 301">
              <a:extLst>
                <a:ext uri="{FF2B5EF4-FFF2-40B4-BE49-F238E27FC236}">
                  <a16:creationId xmlns:a16="http://schemas.microsoft.com/office/drawing/2014/main" id="{3613397B-83ED-EBD6-D19E-C76D0DFED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88" y="2371726"/>
              <a:ext cx="1025525" cy="1298575"/>
            </a:xfrm>
            <a:custGeom>
              <a:avLst/>
              <a:gdLst>
                <a:gd name="T0" fmla="*/ 580 w 580"/>
                <a:gd name="T1" fmla="*/ 707 h 733"/>
                <a:gd name="T2" fmla="*/ 554 w 580"/>
                <a:gd name="T3" fmla="*/ 733 h 733"/>
                <a:gd name="T4" fmla="*/ 26 w 580"/>
                <a:gd name="T5" fmla="*/ 733 h 733"/>
                <a:gd name="T6" fmla="*/ 0 w 580"/>
                <a:gd name="T7" fmla="*/ 707 h 733"/>
                <a:gd name="T8" fmla="*/ 0 w 580"/>
                <a:gd name="T9" fmla="*/ 26 h 733"/>
                <a:gd name="T10" fmla="*/ 26 w 580"/>
                <a:gd name="T11" fmla="*/ 0 h 733"/>
                <a:gd name="T12" fmla="*/ 554 w 580"/>
                <a:gd name="T13" fmla="*/ 0 h 733"/>
                <a:gd name="T14" fmla="*/ 580 w 580"/>
                <a:gd name="T15" fmla="*/ 26 h 733"/>
                <a:gd name="T16" fmla="*/ 580 w 580"/>
                <a:gd name="T17" fmla="*/ 707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0" h="733">
                  <a:moveTo>
                    <a:pt x="580" y="707"/>
                  </a:moveTo>
                  <a:cubicBezTo>
                    <a:pt x="580" y="722"/>
                    <a:pt x="568" y="733"/>
                    <a:pt x="554" y="733"/>
                  </a:cubicBezTo>
                  <a:cubicBezTo>
                    <a:pt x="26" y="733"/>
                    <a:pt x="26" y="733"/>
                    <a:pt x="26" y="733"/>
                  </a:cubicBezTo>
                  <a:cubicBezTo>
                    <a:pt x="11" y="733"/>
                    <a:pt x="0" y="722"/>
                    <a:pt x="0" y="70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554" y="0"/>
                    <a:pt x="554" y="0"/>
                    <a:pt x="554" y="0"/>
                  </a:cubicBezTo>
                  <a:cubicBezTo>
                    <a:pt x="568" y="0"/>
                    <a:pt x="580" y="12"/>
                    <a:pt x="580" y="26"/>
                  </a:cubicBezTo>
                  <a:lnTo>
                    <a:pt x="580" y="707"/>
                  </a:lnTo>
                  <a:close/>
                </a:path>
              </a:pathLst>
            </a:custGeom>
            <a:solidFill>
              <a:srgbClr val="AB7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7" name="Freeform 302">
              <a:extLst>
                <a:ext uri="{FF2B5EF4-FFF2-40B4-BE49-F238E27FC236}">
                  <a16:creationId xmlns:a16="http://schemas.microsoft.com/office/drawing/2014/main" id="{2C760799-5BD6-74AB-AF95-C0244179B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88" y="2336801"/>
              <a:ext cx="1025525" cy="1298575"/>
            </a:xfrm>
            <a:custGeom>
              <a:avLst/>
              <a:gdLst>
                <a:gd name="T0" fmla="*/ 580 w 580"/>
                <a:gd name="T1" fmla="*/ 708 h 734"/>
                <a:gd name="T2" fmla="*/ 554 w 580"/>
                <a:gd name="T3" fmla="*/ 734 h 734"/>
                <a:gd name="T4" fmla="*/ 26 w 580"/>
                <a:gd name="T5" fmla="*/ 734 h 734"/>
                <a:gd name="T6" fmla="*/ 0 w 580"/>
                <a:gd name="T7" fmla="*/ 708 h 734"/>
                <a:gd name="T8" fmla="*/ 0 w 580"/>
                <a:gd name="T9" fmla="*/ 27 h 734"/>
                <a:gd name="T10" fmla="*/ 26 w 580"/>
                <a:gd name="T11" fmla="*/ 0 h 734"/>
                <a:gd name="T12" fmla="*/ 554 w 580"/>
                <a:gd name="T13" fmla="*/ 0 h 734"/>
                <a:gd name="T14" fmla="*/ 580 w 580"/>
                <a:gd name="T15" fmla="*/ 27 h 734"/>
                <a:gd name="T16" fmla="*/ 580 w 580"/>
                <a:gd name="T17" fmla="*/ 708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0" h="734">
                  <a:moveTo>
                    <a:pt x="580" y="708"/>
                  </a:moveTo>
                  <a:cubicBezTo>
                    <a:pt x="580" y="722"/>
                    <a:pt x="568" y="734"/>
                    <a:pt x="554" y="734"/>
                  </a:cubicBezTo>
                  <a:cubicBezTo>
                    <a:pt x="26" y="734"/>
                    <a:pt x="26" y="734"/>
                    <a:pt x="26" y="734"/>
                  </a:cubicBezTo>
                  <a:cubicBezTo>
                    <a:pt x="11" y="734"/>
                    <a:pt x="0" y="722"/>
                    <a:pt x="0" y="70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554" y="0"/>
                    <a:pt x="554" y="0"/>
                    <a:pt x="554" y="0"/>
                  </a:cubicBezTo>
                  <a:cubicBezTo>
                    <a:pt x="568" y="0"/>
                    <a:pt x="580" y="12"/>
                    <a:pt x="580" y="27"/>
                  </a:cubicBezTo>
                  <a:lnTo>
                    <a:pt x="580" y="708"/>
                  </a:lnTo>
                  <a:close/>
                </a:path>
              </a:pathLst>
            </a:custGeom>
            <a:solidFill>
              <a:srgbClr val="CB9E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8" name="Rectangle 303">
              <a:extLst>
                <a:ext uri="{FF2B5EF4-FFF2-40B4-BE49-F238E27FC236}">
                  <a16:creationId xmlns:a16="http://schemas.microsoft.com/office/drawing/2014/main" id="{458ED8D2-3353-EEA3-2275-45FC6E09BC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1738" y="2420938"/>
              <a:ext cx="860425" cy="1131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9" name="Rectangle 304">
              <a:extLst>
                <a:ext uri="{FF2B5EF4-FFF2-40B4-BE49-F238E27FC236}">
                  <a16:creationId xmlns:a16="http://schemas.microsoft.com/office/drawing/2014/main" id="{73456FCB-586B-CECD-5240-9A1D3276F5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1738" y="3516313"/>
              <a:ext cx="860425" cy="36513"/>
            </a:xfrm>
            <a:prstGeom prst="rect">
              <a:avLst/>
            </a:pr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0" name="Freeform 305">
              <a:extLst>
                <a:ext uri="{FF2B5EF4-FFF2-40B4-BE49-F238E27FC236}">
                  <a16:creationId xmlns:a16="http://schemas.microsoft.com/office/drawing/2014/main" id="{3C0026A1-4F38-4B15-A0A4-0D9F8F03F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1926" y="2408238"/>
              <a:ext cx="400050" cy="71438"/>
            </a:xfrm>
            <a:custGeom>
              <a:avLst/>
              <a:gdLst>
                <a:gd name="T0" fmla="*/ 226 w 226"/>
                <a:gd name="T1" fmla="*/ 41 h 41"/>
                <a:gd name="T2" fmla="*/ 226 w 226"/>
                <a:gd name="T3" fmla="*/ 15 h 41"/>
                <a:gd name="T4" fmla="*/ 210 w 226"/>
                <a:gd name="T5" fmla="*/ 0 h 41"/>
                <a:gd name="T6" fmla="*/ 16 w 226"/>
                <a:gd name="T7" fmla="*/ 0 h 41"/>
                <a:gd name="T8" fmla="*/ 0 w 226"/>
                <a:gd name="T9" fmla="*/ 15 h 41"/>
                <a:gd name="T10" fmla="*/ 0 w 226"/>
                <a:gd name="T11" fmla="*/ 41 h 41"/>
                <a:gd name="T12" fmla="*/ 226 w 226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6" h="41">
                  <a:moveTo>
                    <a:pt x="226" y="41"/>
                  </a:moveTo>
                  <a:cubicBezTo>
                    <a:pt x="226" y="15"/>
                    <a:pt x="226" y="15"/>
                    <a:pt x="226" y="15"/>
                  </a:cubicBezTo>
                  <a:cubicBezTo>
                    <a:pt x="226" y="7"/>
                    <a:pt x="219" y="0"/>
                    <a:pt x="21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26" y="41"/>
                  </a:lnTo>
                  <a:close/>
                </a:path>
              </a:pathLst>
            </a:custGeom>
            <a:solidFill>
              <a:srgbClr val="F99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2" name="Freeform 306">
              <a:extLst>
                <a:ext uri="{FF2B5EF4-FFF2-40B4-BE49-F238E27FC236}">
                  <a16:creationId xmlns:a16="http://schemas.microsoft.com/office/drawing/2014/main" id="{F9CDB0A6-5CA6-8D76-949F-04FEEA837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1926" y="2386013"/>
              <a:ext cx="400050" cy="74613"/>
            </a:xfrm>
            <a:custGeom>
              <a:avLst/>
              <a:gdLst>
                <a:gd name="T0" fmla="*/ 226 w 226"/>
                <a:gd name="T1" fmla="*/ 42 h 42"/>
                <a:gd name="T2" fmla="*/ 226 w 226"/>
                <a:gd name="T3" fmla="*/ 16 h 42"/>
                <a:gd name="T4" fmla="*/ 210 w 226"/>
                <a:gd name="T5" fmla="*/ 0 h 42"/>
                <a:gd name="T6" fmla="*/ 16 w 226"/>
                <a:gd name="T7" fmla="*/ 0 h 42"/>
                <a:gd name="T8" fmla="*/ 0 w 226"/>
                <a:gd name="T9" fmla="*/ 16 h 42"/>
                <a:gd name="T10" fmla="*/ 0 w 226"/>
                <a:gd name="T11" fmla="*/ 42 h 42"/>
                <a:gd name="T12" fmla="*/ 226 w 226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6" h="42">
                  <a:moveTo>
                    <a:pt x="226" y="42"/>
                  </a:moveTo>
                  <a:cubicBezTo>
                    <a:pt x="226" y="16"/>
                    <a:pt x="226" y="16"/>
                    <a:pt x="226" y="16"/>
                  </a:cubicBezTo>
                  <a:cubicBezTo>
                    <a:pt x="226" y="7"/>
                    <a:pt x="219" y="0"/>
                    <a:pt x="21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2"/>
                    <a:pt x="0" y="42"/>
                    <a:pt x="0" y="42"/>
                  </a:cubicBezTo>
                  <a:lnTo>
                    <a:pt x="226" y="42"/>
                  </a:lnTo>
                  <a:close/>
                </a:path>
              </a:pathLst>
            </a:custGeom>
            <a:solidFill>
              <a:srgbClr val="FEC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3" name="Oval 307">
              <a:extLst>
                <a:ext uri="{FF2B5EF4-FFF2-40B4-BE49-F238E27FC236}">
                  <a16:creationId xmlns:a16="http://schemas.microsoft.com/office/drawing/2014/main" id="{4C02F538-8A81-A646-66F5-3A2453E7C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863" y="2319338"/>
              <a:ext cx="128588" cy="128588"/>
            </a:xfrm>
            <a:prstGeom prst="ellipse">
              <a:avLst/>
            </a:prstGeom>
            <a:solidFill>
              <a:srgbClr val="FEC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4" name="Oval 308">
              <a:extLst>
                <a:ext uri="{FF2B5EF4-FFF2-40B4-BE49-F238E27FC236}">
                  <a16:creationId xmlns:a16="http://schemas.microsoft.com/office/drawing/2014/main" id="{614C271B-3B4B-EB86-0841-6F22E6373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376" y="2355851"/>
              <a:ext cx="55563" cy="55563"/>
            </a:xfrm>
            <a:prstGeom prst="ellipse">
              <a:avLst/>
            </a:prstGeom>
            <a:solidFill>
              <a:srgbClr val="CB9E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5" name="Rectangle 309">
              <a:extLst>
                <a:ext uri="{FF2B5EF4-FFF2-40B4-BE49-F238E27FC236}">
                  <a16:creationId xmlns:a16="http://schemas.microsoft.com/office/drawing/2014/main" id="{C933F7A0-3FC9-4F23-646C-88A252522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9701" y="2722563"/>
              <a:ext cx="536575" cy="28575"/>
            </a:xfrm>
            <a:prstGeom prst="rect">
              <a:avLst/>
            </a:prstGeom>
            <a:solidFill>
              <a:srgbClr val="A6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6" name="Rectangle 310">
              <a:extLst>
                <a:ext uri="{FF2B5EF4-FFF2-40B4-BE49-F238E27FC236}">
                  <a16:creationId xmlns:a16="http://schemas.microsoft.com/office/drawing/2014/main" id="{9E39E557-96B6-F09A-7D20-17BE28AD87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9701" y="2840038"/>
              <a:ext cx="536575" cy="28575"/>
            </a:xfrm>
            <a:prstGeom prst="rect">
              <a:avLst/>
            </a:prstGeom>
            <a:solidFill>
              <a:srgbClr val="A6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7" name="Rectangle 311">
              <a:extLst>
                <a:ext uri="{FF2B5EF4-FFF2-40B4-BE49-F238E27FC236}">
                  <a16:creationId xmlns:a16="http://schemas.microsoft.com/office/drawing/2014/main" id="{EC01A50F-913C-5701-5530-5863C134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9701" y="2954338"/>
              <a:ext cx="536575" cy="28575"/>
            </a:xfrm>
            <a:prstGeom prst="rect">
              <a:avLst/>
            </a:prstGeom>
            <a:solidFill>
              <a:srgbClr val="A6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8" name="Rectangle 312">
              <a:extLst>
                <a:ext uri="{FF2B5EF4-FFF2-40B4-BE49-F238E27FC236}">
                  <a16:creationId xmlns:a16="http://schemas.microsoft.com/office/drawing/2014/main" id="{780D2F34-BE2B-34F7-FACF-1CFC4CDF0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9701" y="3071813"/>
              <a:ext cx="536575" cy="28575"/>
            </a:xfrm>
            <a:prstGeom prst="rect">
              <a:avLst/>
            </a:prstGeom>
            <a:solidFill>
              <a:srgbClr val="A6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19" name="Freeform 313">
              <a:extLst>
                <a:ext uri="{FF2B5EF4-FFF2-40B4-BE49-F238E27FC236}">
                  <a16:creationId xmlns:a16="http://schemas.microsoft.com/office/drawing/2014/main" id="{AE3CF9D6-E744-363C-96E5-9FC028135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2686051"/>
              <a:ext cx="96838" cy="84138"/>
            </a:xfrm>
            <a:custGeom>
              <a:avLst/>
              <a:gdLst>
                <a:gd name="T0" fmla="*/ 20 w 55"/>
                <a:gd name="T1" fmla="*/ 48 h 48"/>
                <a:gd name="T2" fmla="*/ 15 w 55"/>
                <a:gd name="T3" fmla="*/ 46 h 48"/>
                <a:gd name="T4" fmla="*/ 3 w 55"/>
                <a:gd name="T5" fmla="*/ 33 h 48"/>
                <a:gd name="T6" fmla="*/ 3 w 55"/>
                <a:gd name="T7" fmla="*/ 23 h 48"/>
                <a:gd name="T8" fmla="*/ 13 w 55"/>
                <a:gd name="T9" fmla="*/ 23 h 48"/>
                <a:gd name="T10" fmla="*/ 20 w 55"/>
                <a:gd name="T11" fmla="*/ 30 h 48"/>
                <a:gd name="T12" fmla="*/ 41 w 55"/>
                <a:gd name="T13" fmla="*/ 4 h 48"/>
                <a:gd name="T14" fmla="*/ 51 w 55"/>
                <a:gd name="T15" fmla="*/ 3 h 48"/>
                <a:gd name="T16" fmla="*/ 52 w 55"/>
                <a:gd name="T17" fmla="*/ 13 h 48"/>
                <a:gd name="T18" fmla="*/ 26 w 55"/>
                <a:gd name="T19" fmla="*/ 45 h 48"/>
                <a:gd name="T20" fmla="*/ 20 w 55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48">
                  <a:moveTo>
                    <a:pt x="20" y="48"/>
                  </a:moveTo>
                  <a:cubicBezTo>
                    <a:pt x="18" y="48"/>
                    <a:pt x="16" y="47"/>
                    <a:pt x="15" y="4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0" y="30"/>
                    <a:pt x="0" y="26"/>
                    <a:pt x="3" y="23"/>
                  </a:cubicBezTo>
                  <a:cubicBezTo>
                    <a:pt x="6" y="20"/>
                    <a:pt x="11" y="20"/>
                    <a:pt x="13" y="23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3" y="1"/>
                    <a:pt x="48" y="0"/>
                    <a:pt x="51" y="3"/>
                  </a:cubicBezTo>
                  <a:cubicBezTo>
                    <a:pt x="54" y="6"/>
                    <a:pt x="55" y="10"/>
                    <a:pt x="52" y="13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4" y="47"/>
                    <a:pt x="22" y="48"/>
                    <a:pt x="20" y="48"/>
                  </a:cubicBez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20" name="Freeform 314">
              <a:extLst>
                <a:ext uri="{FF2B5EF4-FFF2-40B4-BE49-F238E27FC236}">
                  <a16:creationId xmlns:a16="http://schemas.microsoft.com/office/drawing/2014/main" id="{F9AC1FDB-E190-7302-FE6D-5E26A327C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2797176"/>
              <a:ext cx="96838" cy="85725"/>
            </a:xfrm>
            <a:custGeom>
              <a:avLst/>
              <a:gdLst>
                <a:gd name="T0" fmla="*/ 20 w 55"/>
                <a:gd name="T1" fmla="*/ 48 h 48"/>
                <a:gd name="T2" fmla="*/ 15 w 55"/>
                <a:gd name="T3" fmla="*/ 46 h 48"/>
                <a:gd name="T4" fmla="*/ 3 w 55"/>
                <a:gd name="T5" fmla="*/ 33 h 48"/>
                <a:gd name="T6" fmla="*/ 3 w 55"/>
                <a:gd name="T7" fmla="*/ 23 h 48"/>
                <a:gd name="T8" fmla="*/ 13 w 55"/>
                <a:gd name="T9" fmla="*/ 23 h 48"/>
                <a:gd name="T10" fmla="*/ 20 w 55"/>
                <a:gd name="T11" fmla="*/ 30 h 48"/>
                <a:gd name="T12" fmla="*/ 41 w 55"/>
                <a:gd name="T13" fmla="*/ 4 h 48"/>
                <a:gd name="T14" fmla="*/ 51 w 55"/>
                <a:gd name="T15" fmla="*/ 3 h 48"/>
                <a:gd name="T16" fmla="*/ 52 w 55"/>
                <a:gd name="T17" fmla="*/ 13 h 48"/>
                <a:gd name="T18" fmla="*/ 26 w 55"/>
                <a:gd name="T19" fmla="*/ 45 h 48"/>
                <a:gd name="T20" fmla="*/ 20 w 55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48">
                  <a:moveTo>
                    <a:pt x="20" y="48"/>
                  </a:moveTo>
                  <a:cubicBezTo>
                    <a:pt x="18" y="48"/>
                    <a:pt x="16" y="47"/>
                    <a:pt x="15" y="4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0" y="30"/>
                    <a:pt x="0" y="26"/>
                    <a:pt x="3" y="23"/>
                  </a:cubicBezTo>
                  <a:cubicBezTo>
                    <a:pt x="6" y="20"/>
                    <a:pt x="11" y="20"/>
                    <a:pt x="13" y="23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3" y="1"/>
                    <a:pt x="48" y="0"/>
                    <a:pt x="51" y="3"/>
                  </a:cubicBezTo>
                  <a:cubicBezTo>
                    <a:pt x="54" y="5"/>
                    <a:pt x="55" y="10"/>
                    <a:pt x="52" y="13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4" y="47"/>
                    <a:pt x="22" y="48"/>
                    <a:pt x="20" y="48"/>
                  </a:cubicBez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21" name="Freeform 315">
              <a:extLst>
                <a:ext uri="{FF2B5EF4-FFF2-40B4-BE49-F238E27FC236}">
                  <a16:creationId xmlns:a16="http://schemas.microsoft.com/office/drawing/2014/main" id="{F4C50753-ADEB-4C65-3257-1D69E8D62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2908301"/>
              <a:ext cx="96838" cy="85725"/>
            </a:xfrm>
            <a:custGeom>
              <a:avLst/>
              <a:gdLst>
                <a:gd name="T0" fmla="*/ 20 w 55"/>
                <a:gd name="T1" fmla="*/ 48 h 48"/>
                <a:gd name="T2" fmla="*/ 15 w 55"/>
                <a:gd name="T3" fmla="*/ 46 h 48"/>
                <a:gd name="T4" fmla="*/ 3 w 55"/>
                <a:gd name="T5" fmla="*/ 33 h 48"/>
                <a:gd name="T6" fmla="*/ 3 w 55"/>
                <a:gd name="T7" fmla="*/ 23 h 48"/>
                <a:gd name="T8" fmla="*/ 13 w 55"/>
                <a:gd name="T9" fmla="*/ 23 h 48"/>
                <a:gd name="T10" fmla="*/ 20 w 55"/>
                <a:gd name="T11" fmla="*/ 30 h 48"/>
                <a:gd name="T12" fmla="*/ 41 w 55"/>
                <a:gd name="T13" fmla="*/ 4 h 48"/>
                <a:gd name="T14" fmla="*/ 51 w 55"/>
                <a:gd name="T15" fmla="*/ 3 h 48"/>
                <a:gd name="T16" fmla="*/ 52 w 55"/>
                <a:gd name="T17" fmla="*/ 13 h 48"/>
                <a:gd name="T18" fmla="*/ 26 w 55"/>
                <a:gd name="T19" fmla="*/ 45 h 48"/>
                <a:gd name="T20" fmla="*/ 20 w 55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48">
                  <a:moveTo>
                    <a:pt x="20" y="48"/>
                  </a:moveTo>
                  <a:cubicBezTo>
                    <a:pt x="18" y="48"/>
                    <a:pt x="16" y="47"/>
                    <a:pt x="15" y="4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0" y="30"/>
                    <a:pt x="0" y="26"/>
                    <a:pt x="3" y="23"/>
                  </a:cubicBezTo>
                  <a:cubicBezTo>
                    <a:pt x="6" y="20"/>
                    <a:pt x="11" y="20"/>
                    <a:pt x="13" y="23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3" y="1"/>
                    <a:pt x="48" y="0"/>
                    <a:pt x="51" y="3"/>
                  </a:cubicBezTo>
                  <a:cubicBezTo>
                    <a:pt x="54" y="5"/>
                    <a:pt x="55" y="10"/>
                    <a:pt x="52" y="13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4" y="47"/>
                    <a:pt x="22" y="48"/>
                    <a:pt x="20" y="48"/>
                  </a:cubicBez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  <p:sp>
          <p:nvSpPr>
            <p:cNvPr id="22" name="Freeform 316">
              <a:extLst>
                <a:ext uri="{FF2B5EF4-FFF2-40B4-BE49-F238E27FC236}">
                  <a16:creationId xmlns:a16="http://schemas.microsoft.com/office/drawing/2014/main" id="{14D6A970-3EA7-80A9-2000-1244204B2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6" y="3284538"/>
              <a:ext cx="293688" cy="115888"/>
            </a:xfrm>
            <a:custGeom>
              <a:avLst/>
              <a:gdLst>
                <a:gd name="T0" fmla="*/ 11 w 166"/>
                <a:gd name="T1" fmla="*/ 66 h 66"/>
                <a:gd name="T2" fmla="*/ 11 w 166"/>
                <a:gd name="T3" fmla="*/ 66 h 66"/>
                <a:gd name="T4" fmla="*/ 3 w 166"/>
                <a:gd name="T5" fmla="*/ 56 h 66"/>
                <a:gd name="T6" fmla="*/ 9 w 166"/>
                <a:gd name="T7" fmla="*/ 19 h 66"/>
                <a:gd name="T8" fmla="*/ 4 w 166"/>
                <a:gd name="T9" fmla="*/ 8 h 66"/>
                <a:gd name="T10" fmla="*/ 6 w 166"/>
                <a:gd name="T11" fmla="*/ 3 h 66"/>
                <a:gd name="T12" fmla="*/ 11 w 166"/>
                <a:gd name="T13" fmla="*/ 4 h 66"/>
                <a:gd name="T14" fmla="*/ 15 w 166"/>
                <a:gd name="T15" fmla="*/ 12 h 66"/>
                <a:gd name="T16" fmla="*/ 42 w 166"/>
                <a:gd name="T17" fmla="*/ 0 h 66"/>
                <a:gd name="T18" fmla="*/ 75 w 166"/>
                <a:gd name="T19" fmla="*/ 23 h 66"/>
                <a:gd name="T20" fmla="*/ 76 w 166"/>
                <a:gd name="T21" fmla="*/ 25 h 66"/>
                <a:gd name="T22" fmla="*/ 114 w 166"/>
                <a:gd name="T23" fmla="*/ 11 h 66"/>
                <a:gd name="T24" fmla="*/ 127 w 166"/>
                <a:gd name="T25" fmla="*/ 31 h 66"/>
                <a:gd name="T26" fmla="*/ 133 w 166"/>
                <a:gd name="T27" fmla="*/ 21 h 66"/>
                <a:gd name="T28" fmla="*/ 159 w 166"/>
                <a:gd name="T29" fmla="*/ 17 h 66"/>
                <a:gd name="T30" fmla="*/ 163 w 166"/>
                <a:gd name="T31" fmla="*/ 18 h 66"/>
                <a:gd name="T32" fmla="*/ 166 w 166"/>
                <a:gd name="T33" fmla="*/ 22 h 66"/>
                <a:gd name="T34" fmla="*/ 161 w 166"/>
                <a:gd name="T35" fmla="*/ 26 h 66"/>
                <a:gd name="T36" fmla="*/ 157 w 166"/>
                <a:gd name="T37" fmla="*/ 25 h 66"/>
                <a:gd name="T38" fmla="*/ 141 w 166"/>
                <a:gd name="T39" fmla="*/ 22 h 66"/>
                <a:gd name="T40" fmla="*/ 140 w 166"/>
                <a:gd name="T41" fmla="*/ 24 h 66"/>
                <a:gd name="T42" fmla="*/ 133 w 166"/>
                <a:gd name="T43" fmla="*/ 37 h 66"/>
                <a:gd name="T44" fmla="*/ 123 w 166"/>
                <a:gd name="T45" fmla="*/ 44 h 66"/>
                <a:gd name="T46" fmla="*/ 119 w 166"/>
                <a:gd name="T47" fmla="*/ 34 h 66"/>
                <a:gd name="T48" fmla="*/ 113 w 166"/>
                <a:gd name="T49" fmla="*/ 19 h 66"/>
                <a:gd name="T50" fmla="*/ 80 w 166"/>
                <a:gd name="T51" fmla="*/ 32 h 66"/>
                <a:gd name="T52" fmla="*/ 81 w 166"/>
                <a:gd name="T53" fmla="*/ 52 h 66"/>
                <a:gd name="T54" fmla="*/ 69 w 166"/>
                <a:gd name="T55" fmla="*/ 54 h 66"/>
                <a:gd name="T56" fmla="*/ 60 w 166"/>
                <a:gd name="T57" fmla="*/ 43 h 66"/>
                <a:gd name="T58" fmla="*/ 69 w 166"/>
                <a:gd name="T59" fmla="*/ 30 h 66"/>
                <a:gd name="T60" fmla="*/ 68 w 166"/>
                <a:gd name="T61" fmla="*/ 28 h 66"/>
                <a:gd name="T62" fmla="*/ 42 w 166"/>
                <a:gd name="T63" fmla="*/ 8 h 66"/>
                <a:gd name="T64" fmla="*/ 18 w 166"/>
                <a:gd name="T65" fmla="*/ 21 h 66"/>
                <a:gd name="T66" fmla="*/ 17 w 166"/>
                <a:gd name="T67" fmla="*/ 63 h 66"/>
                <a:gd name="T68" fmla="*/ 11 w 166"/>
                <a:gd name="T69" fmla="*/ 66 h 66"/>
                <a:gd name="T70" fmla="*/ 12 w 166"/>
                <a:gd name="T71" fmla="*/ 32 h 66"/>
                <a:gd name="T72" fmla="*/ 11 w 166"/>
                <a:gd name="T73" fmla="*/ 54 h 66"/>
                <a:gd name="T74" fmla="*/ 11 w 166"/>
                <a:gd name="T75" fmla="*/ 55 h 66"/>
                <a:gd name="T76" fmla="*/ 12 w 166"/>
                <a:gd name="T77" fmla="*/ 32 h 66"/>
                <a:gd name="T78" fmla="*/ 73 w 166"/>
                <a:gd name="T79" fmla="*/ 37 h 66"/>
                <a:gd name="T80" fmla="*/ 68 w 166"/>
                <a:gd name="T81" fmla="*/ 44 h 66"/>
                <a:gd name="T82" fmla="*/ 71 w 166"/>
                <a:gd name="T83" fmla="*/ 46 h 66"/>
                <a:gd name="T84" fmla="*/ 74 w 166"/>
                <a:gd name="T85" fmla="*/ 47 h 66"/>
                <a:gd name="T86" fmla="*/ 73 w 166"/>
                <a:gd name="T87" fmla="*/ 3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66">
                  <a:moveTo>
                    <a:pt x="11" y="66"/>
                  </a:moveTo>
                  <a:cubicBezTo>
                    <a:pt x="11" y="66"/>
                    <a:pt x="11" y="66"/>
                    <a:pt x="11" y="66"/>
                  </a:cubicBezTo>
                  <a:cubicBezTo>
                    <a:pt x="6" y="66"/>
                    <a:pt x="5" y="61"/>
                    <a:pt x="3" y="56"/>
                  </a:cubicBezTo>
                  <a:cubicBezTo>
                    <a:pt x="0" y="44"/>
                    <a:pt x="2" y="30"/>
                    <a:pt x="9" y="19"/>
                  </a:cubicBezTo>
                  <a:cubicBezTo>
                    <a:pt x="8" y="15"/>
                    <a:pt x="6" y="12"/>
                    <a:pt x="4" y="8"/>
                  </a:cubicBezTo>
                  <a:cubicBezTo>
                    <a:pt x="3" y="6"/>
                    <a:pt x="4" y="4"/>
                    <a:pt x="6" y="3"/>
                  </a:cubicBezTo>
                  <a:cubicBezTo>
                    <a:pt x="7" y="2"/>
                    <a:pt x="10" y="2"/>
                    <a:pt x="11" y="4"/>
                  </a:cubicBezTo>
                  <a:cubicBezTo>
                    <a:pt x="12" y="7"/>
                    <a:pt x="14" y="9"/>
                    <a:pt x="15" y="12"/>
                  </a:cubicBezTo>
                  <a:cubicBezTo>
                    <a:pt x="22" y="4"/>
                    <a:pt x="32" y="0"/>
                    <a:pt x="42" y="0"/>
                  </a:cubicBezTo>
                  <a:cubicBezTo>
                    <a:pt x="56" y="0"/>
                    <a:pt x="68" y="12"/>
                    <a:pt x="75" y="23"/>
                  </a:cubicBezTo>
                  <a:cubicBezTo>
                    <a:pt x="75" y="24"/>
                    <a:pt x="76" y="24"/>
                    <a:pt x="76" y="25"/>
                  </a:cubicBezTo>
                  <a:cubicBezTo>
                    <a:pt x="88" y="16"/>
                    <a:pt x="105" y="10"/>
                    <a:pt x="114" y="11"/>
                  </a:cubicBezTo>
                  <a:cubicBezTo>
                    <a:pt x="126" y="12"/>
                    <a:pt x="127" y="24"/>
                    <a:pt x="127" y="31"/>
                  </a:cubicBezTo>
                  <a:cubicBezTo>
                    <a:pt x="131" y="27"/>
                    <a:pt x="132" y="24"/>
                    <a:pt x="133" y="21"/>
                  </a:cubicBezTo>
                  <a:cubicBezTo>
                    <a:pt x="136" y="12"/>
                    <a:pt x="139" y="13"/>
                    <a:pt x="159" y="17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5" y="18"/>
                    <a:pt x="166" y="20"/>
                    <a:pt x="166" y="22"/>
                  </a:cubicBezTo>
                  <a:cubicBezTo>
                    <a:pt x="166" y="25"/>
                    <a:pt x="163" y="26"/>
                    <a:pt x="161" y="26"/>
                  </a:cubicBezTo>
                  <a:cubicBezTo>
                    <a:pt x="157" y="25"/>
                    <a:pt x="157" y="25"/>
                    <a:pt x="157" y="25"/>
                  </a:cubicBezTo>
                  <a:cubicBezTo>
                    <a:pt x="148" y="23"/>
                    <a:pt x="142" y="22"/>
                    <a:pt x="141" y="22"/>
                  </a:cubicBezTo>
                  <a:cubicBezTo>
                    <a:pt x="141" y="22"/>
                    <a:pt x="141" y="23"/>
                    <a:pt x="140" y="24"/>
                  </a:cubicBezTo>
                  <a:cubicBezTo>
                    <a:pt x="139" y="27"/>
                    <a:pt x="138" y="31"/>
                    <a:pt x="133" y="37"/>
                  </a:cubicBezTo>
                  <a:cubicBezTo>
                    <a:pt x="130" y="42"/>
                    <a:pt x="127" y="45"/>
                    <a:pt x="123" y="44"/>
                  </a:cubicBezTo>
                  <a:cubicBezTo>
                    <a:pt x="119" y="42"/>
                    <a:pt x="119" y="38"/>
                    <a:pt x="119" y="34"/>
                  </a:cubicBezTo>
                  <a:cubicBezTo>
                    <a:pt x="119" y="25"/>
                    <a:pt x="118" y="20"/>
                    <a:pt x="113" y="19"/>
                  </a:cubicBezTo>
                  <a:cubicBezTo>
                    <a:pt x="105" y="18"/>
                    <a:pt x="90" y="25"/>
                    <a:pt x="80" y="32"/>
                  </a:cubicBezTo>
                  <a:cubicBezTo>
                    <a:pt x="83" y="39"/>
                    <a:pt x="84" y="47"/>
                    <a:pt x="81" y="52"/>
                  </a:cubicBezTo>
                  <a:cubicBezTo>
                    <a:pt x="79" y="53"/>
                    <a:pt x="76" y="56"/>
                    <a:pt x="69" y="54"/>
                  </a:cubicBezTo>
                  <a:cubicBezTo>
                    <a:pt x="59" y="51"/>
                    <a:pt x="59" y="45"/>
                    <a:pt x="60" y="43"/>
                  </a:cubicBezTo>
                  <a:cubicBezTo>
                    <a:pt x="61" y="38"/>
                    <a:pt x="64" y="34"/>
                    <a:pt x="69" y="30"/>
                  </a:cubicBezTo>
                  <a:cubicBezTo>
                    <a:pt x="69" y="29"/>
                    <a:pt x="69" y="28"/>
                    <a:pt x="68" y="28"/>
                  </a:cubicBezTo>
                  <a:cubicBezTo>
                    <a:pt x="63" y="19"/>
                    <a:pt x="52" y="8"/>
                    <a:pt x="42" y="8"/>
                  </a:cubicBezTo>
                  <a:cubicBezTo>
                    <a:pt x="32" y="8"/>
                    <a:pt x="24" y="13"/>
                    <a:pt x="18" y="21"/>
                  </a:cubicBezTo>
                  <a:cubicBezTo>
                    <a:pt x="22" y="39"/>
                    <a:pt x="21" y="58"/>
                    <a:pt x="17" y="63"/>
                  </a:cubicBezTo>
                  <a:cubicBezTo>
                    <a:pt x="15" y="66"/>
                    <a:pt x="13" y="66"/>
                    <a:pt x="11" y="66"/>
                  </a:cubicBezTo>
                  <a:close/>
                  <a:moveTo>
                    <a:pt x="12" y="32"/>
                  </a:moveTo>
                  <a:cubicBezTo>
                    <a:pt x="9" y="39"/>
                    <a:pt x="9" y="47"/>
                    <a:pt x="11" y="54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0"/>
                    <a:pt x="13" y="41"/>
                    <a:pt x="12" y="32"/>
                  </a:cubicBezTo>
                  <a:close/>
                  <a:moveTo>
                    <a:pt x="73" y="37"/>
                  </a:moveTo>
                  <a:cubicBezTo>
                    <a:pt x="70" y="40"/>
                    <a:pt x="68" y="42"/>
                    <a:pt x="68" y="44"/>
                  </a:cubicBezTo>
                  <a:cubicBezTo>
                    <a:pt x="68" y="45"/>
                    <a:pt x="68" y="45"/>
                    <a:pt x="71" y="46"/>
                  </a:cubicBezTo>
                  <a:cubicBezTo>
                    <a:pt x="73" y="47"/>
                    <a:pt x="74" y="47"/>
                    <a:pt x="74" y="47"/>
                  </a:cubicBezTo>
                  <a:cubicBezTo>
                    <a:pt x="75" y="46"/>
                    <a:pt x="75" y="42"/>
                    <a:pt x="73" y="37"/>
                  </a:cubicBez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371475"/>
              <a:endParaRPr lang="en-GB" sz="1463">
                <a:solidFill>
                  <a:srgbClr val="000000"/>
                </a:solidFill>
                <a:latin typeface="Univers for KPMG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CCECF1D-F294-BEB8-D61B-03577A76F0D1}"/>
              </a:ext>
            </a:extLst>
          </p:cNvPr>
          <p:cNvSpPr txBox="1"/>
          <p:nvPr/>
        </p:nvSpPr>
        <p:spPr>
          <a:xfrm>
            <a:off x="732013" y="2869696"/>
            <a:ext cx="5297851" cy="258121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Σχεδιασμός και ανάπτυξη Ηλεκτρονικής Πλατφόρμας και </a:t>
            </a:r>
            <a:r>
              <a:rPr lang="el-GR" sz="1200" b="1" dirty="0" err="1">
                <a:solidFill>
                  <a:schemeClr val="tx2"/>
                </a:solidFill>
              </a:rPr>
              <a:t>ιστότοπου</a:t>
            </a:r>
            <a:r>
              <a:rPr lang="el-GR" sz="1200" b="1" dirty="0">
                <a:solidFill>
                  <a:schemeClr val="tx2"/>
                </a:solidFill>
              </a:rPr>
              <a:t> του Εθνικού Παρατηρητηρίου, και λειτουργία του.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Παραμετροποίηση της πλατφόρμας για τα υφιστάμενα Περιφερειακά Παρατηρητήρια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Ανάπτυξη νέων Περιφερειακών Παρατηρητηρίων, όπου δεν υπάρχουν. 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Λειτουργία του Εθνικού Παρατηρητηρίου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Λειτουργία των Περιφερειακών Παρατηρητηρίων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Δημιουργία εγχειριδίου εκπαίδευσης, με παράλληλη εκπαίδευση των στελεχών του Υπουργείου και των Περιφερειών.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Διοργάνωση ενεργειών δημοσιότητας και εκπαίδευσης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l-GR" sz="1200" b="1" dirty="0">
              <a:solidFill>
                <a:schemeClr val="tx2"/>
              </a:solidFill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l-GR" sz="1200" b="1" dirty="0">
              <a:solidFill>
                <a:schemeClr val="tx2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79B596C-7E85-B912-6393-EFF239BC716A}"/>
              </a:ext>
            </a:extLst>
          </p:cNvPr>
          <p:cNvSpPr txBox="1"/>
          <p:nvPr/>
        </p:nvSpPr>
        <p:spPr>
          <a:xfrm>
            <a:off x="1297390" y="2445229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500" b="1" dirty="0">
                <a:solidFill>
                  <a:srgbClr val="098E7E"/>
                </a:solidFill>
              </a:rPr>
              <a:t>Αντικείμενο Υπηρεσιών</a:t>
            </a:r>
          </a:p>
        </p:txBody>
      </p:sp>
      <p:grpSp>
        <p:nvGrpSpPr>
          <p:cNvPr id="32256" name="Group 32255">
            <a:extLst>
              <a:ext uri="{FF2B5EF4-FFF2-40B4-BE49-F238E27FC236}">
                <a16:creationId xmlns:a16="http://schemas.microsoft.com/office/drawing/2014/main" id="{A0517FAA-C4F6-D4E1-9FC6-716BABE7D741}"/>
              </a:ext>
            </a:extLst>
          </p:cNvPr>
          <p:cNvGrpSpPr/>
          <p:nvPr/>
        </p:nvGrpSpPr>
        <p:grpSpPr>
          <a:xfrm>
            <a:off x="7254511" y="1795317"/>
            <a:ext cx="795980" cy="838237"/>
            <a:chOff x="8112350" y="1264260"/>
            <a:chExt cx="1289689" cy="1358157"/>
          </a:xfrm>
        </p:grpSpPr>
        <p:grpSp>
          <p:nvGrpSpPr>
            <p:cNvPr id="32257" name="Group 32256">
              <a:extLst>
                <a:ext uri="{FF2B5EF4-FFF2-40B4-BE49-F238E27FC236}">
                  <a16:creationId xmlns:a16="http://schemas.microsoft.com/office/drawing/2014/main" id="{C880903F-7827-5F36-9190-40BFB999260A}"/>
                </a:ext>
              </a:extLst>
            </p:cNvPr>
            <p:cNvGrpSpPr/>
            <p:nvPr/>
          </p:nvGrpSpPr>
          <p:grpSpPr>
            <a:xfrm>
              <a:off x="8624593" y="1264260"/>
              <a:ext cx="463653" cy="1199729"/>
              <a:chOff x="10807266" y="270155"/>
              <a:chExt cx="744782" cy="1927169"/>
            </a:xfrm>
          </p:grpSpPr>
          <p:pic>
            <p:nvPicPr>
              <p:cNvPr id="32282" name="Picture 32281">
                <a:extLst>
                  <a:ext uri="{FF2B5EF4-FFF2-40B4-BE49-F238E27FC236}">
                    <a16:creationId xmlns:a16="http://schemas.microsoft.com/office/drawing/2014/main" id="{E40CBFFC-63E5-F851-F2B1-19F2CFCC91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1842930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3" name="Picture 32282">
                <a:extLst>
                  <a:ext uri="{FF2B5EF4-FFF2-40B4-BE49-F238E27FC236}">
                    <a16:creationId xmlns:a16="http://schemas.microsoft.com/office/drawing/2014/main" id="{94DAF02D-3444-6A00-693D-9D029AD042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1744906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4" name="Picture 32283">
                <a:extLst>
                  <a:ext uri="{FF2B5EF4-FFF2-40B4-BE49-F238E27FC236}">
                    <a16:creationId xmlns:a16="http://schemas.microsoft.com/office/drawing/2014/main" id="{56D2F4D7-9151-65AD-AA43-1D47A9C3C8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1646886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5" name="Picture 32284">
                <a:extLst>
                  <a:ext uri="{FF2B5EF4-FFF2-40B4-BE49-F238E27FC236}">
                    <a16:creationId xmlns:a16="http://schemas.microsoft.com/office/drawing/2014/main" id="{A813F50D-5D89-8AB3-05A8-9CC88ADED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154886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6" name="Picture 32285">
                <a:extLst>
                  <a:ext uri="{FF2B5EF4-FFF2-40B4-BE49-F238E27FC236}">
                    <a16:creationId xmlns:a16="http://schemas.microsoft.com/office/drawing/2014/main" id="{E2C5E412-6087-A663-D9D8-5966584EB9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145084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7" name="Picture 32286">
                <a:extLst>
                  <a:ext uri="{FF2B5EF4-FFF2-40B4-BE49-F238E27FC236}">
                    <a16:creationId xmlns:a16="http://schemas.microsoft.com/office/drawing/2014/main" id="{1486F082-AD8E-5578-E459-3BCB02DF10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135282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8" name="Picture 32287">
                <a:extLst>
                  <a:ext uri="{FF2B5EF4-FFF2-40B4-BE49-F238E27FC236}">
                    <a16:creationId xmlns:a16="http://schemas.microsoft.com/office/drawing/2014/main" id="{5998C68A-85DD-1D95-AC9C-C27D2E2D6D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125480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89" name="Picture 32288">
                <a:extLst>
                  <a:ext uri="{FF2B5EF4-FFF2-40B4-BE49-F238E27FC236}">
                    <a16:creationId xmlns:a16="http://schemas.microsoft.com/office/drawing/2014/main" id="{BFFAA778-35CE-ED50-2F7E-44A07FF870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115678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90" name="Picture 32289">
                <a:extLst>
                  <a:ext uri="{FF2B5EF4-FFF2-40B4-BE49-F238E27FC236}">
                    <a16:creationId xmlns:a16="http://schemas.microsoft.com/office/drawing/2014/main" id="{B6E87DFA-4B20-A475-9A21-F544E6B2CD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105876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91" name="Picture 32290">
                <a:extLst>
                  <a:ext uri="{FF2B5EF4-FFF2-40B4-BE49-F238E27FC236}">
                    <a16:creationId xmlns:a16="http://schemas.microsoft.com/office/drawing/2014/main" id="{6C3DC24D-7A76-C37D-370B-3A51784F5D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960744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92" name="Picture 32291">
                <a:extLst>
                  <a:ext uri="{FF2B5EF4-FFF2-40B4-BE49-F238E27FC236}">
                    <a16:creationId xmlns:a16="http://schemas.microsoft.com/office/drawing/2014/main" id="{F06B2797-711E-B725-AE9E-F0A7EAEE16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862724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293" name="Picture 32292">
                <a:extLst>
                  <a:ext uri="{FF2B5EF4-FFF2-40B4-BE49-F238E27FC236}">
                    <a16:creationId xmlns:a16="http://schemas.microsoft.com/office/drawing/2014/main" id="{A8B6DC40-0464-97B5-3FEE-C4A8256D9F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764704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404" name="Picture 32403">
                <a:extLst>
                  <a:ext uri="{FF2B5EF4-FFF2-40B4-BE49-F238E27FC236}">
                    <a16:creationId xmlns:a16="http://schemas.microsoft.com/office/drawing/2014/main" id="{EF27FBD7-4C85-1DD5-AB09-132D2C5C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662236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408" name="Picture 32407">
                <a:extLst>
                  <a:ext uri="{FF2B5EF4-FFF2-40B4-BE49-F238E27FC236}">
                    <a16:creationId xmlns:a16="http://schemas.microsoft.com/office/drawing/2014/main" id="{101733FF-75D5-1A63-CF67-BB9EC808AC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564216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457" name="Picture 32456">
                <a:extLst>
                  <a:ext uri="{FF2B5EF4-FFF2-40B4-BE49-F238E27FC236}">
                    <a16:creationId xmlns:a16="http://schemas.microsoft.com/office/drawing/2014/main" id="{159AE8E6-5F75-3032-55CD-DBC4E47C87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466196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458" name="Picture 32457">
                <a:extLst>
                  <a:ext uri="{FF2B5EF4-FFF2-40B4-BE49-F238E27FC236}">
                    <a16:creationId xmlns:a16="http://schemas.microsoft.com/office/drawing/2014/main" id="{13F7B47B-C2BD-6051-F381-2C0FE13C81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6" y="368175"/>
                <a:ext cx="744781" cy="354394"/>
              </a:xfrm>
              <a:prstGeom prst="rect">
                <a:avLst/>
              </a:prstGeom>
            </p:spPr>
          </p:pic>
          <p:pic>
            <p:nvPicPr>
              <p:cNvPr id="32459" name="Picture 32458">
                <a:extLst>
                  <a:ext uri="{FF2B5EF4-FFF2-40B4-BE49-F238E27FC236}">
                    <a16:creationId xmlns:a16="http://schemas.microsoft.com/office/drawing/2014/main" id="{BC52228D-5CB8-7AD7-31C3-A81454CF18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07267" y="270155"/>
                <a:ext cx="744781" cy="354394"/>
              </a:xfrm>
              <a:prstGeom prst="rect">
                <a:avLst/>
              </a:prstGeom>
            </p:spPr>
          </p:pic>
        </p:grpSp>
        <p:grpSp>
          <p:nvGrpSpPr>
            <p:cNvPr id="32258" name="Group 32257">
              <a:extLst>
                <a:ext uri="{FF2B5EF4-FFF2-40B4-BE49-F238E27FC236}">
                  <a16:creationId xmlns:a16="http://schemas.microsoft.com/office/drawing/2014/main" id="{429D29FD-BBA8-4971-AA09-29AE963AEC83}"/>
                </a:ext>
              </a:extLst>
            </p:cNvPr>
            <p:cNvGrpSpPr/>
            <p:nvPr/>
          </p:nvGrpSpPr>
          <p:grpSpPr>
            <a:xfrm>
              <a:off x="8112350" y="1572134"/>
              <a:ext cx="463653" cy="891855"/>
              <a:chOff x="9984431" y="332656"/>
              <a:chExt cx="969392" cy="1864668"/>
            </a:xfrm>
          </p:grpSpPr>
          <p:pic>
            <p:nvPicPr>
              <p:cNvPr id="32270" name="Picture 32269">
                <a:extLst>
                  <a:ext uri="{FF2B5EF4-FFF2-40B4-BE49-F238E27FC236}">
                    <a16:creationId xmlns:a16="http://schemas.microsoft.com/office/drawing/2014/main" id="{DA5B6A35-542B-59AC-F683-1F094140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736052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1" name="Picture 32270">
                <a:extLst>
                  <a:ext uri="{FF2B5EF4-FFF2-40B4-BE49-F238E27FC236}">
                    <a16:creationId xmlns:a16="http://schemas.microsoft.com/office/drawing/2014/main" id="{AC9ACAF6-237D-8F91-F6FE-04F91C5D07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608466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2" name="Picture 32271">
                <a:extLst>
                  <a:ext uri="{FF2B5EF4-FFF2-40B4-BE49-F238E27FC236}">
                    <a16:creationId xmlns:a16="http://schemas.microsoft.com/office/drawing/2014/main" id="{2AF9EC61-AE57-7054-3DF1-82298DF4E7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480885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3" name="Picture 32272">
                <a:extLst>
                  <a:ext uri="{FF2B5EF4-FFF2-40B4-BE49-F238E27FC236}">
                    <a16:creationId xmlns:a16="http://schemas.microsoft.com/office/drawing/2014/main" id="{CBEBE33A-0CC3-16F8-218D-281DD6C22A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353304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4" name="Picture 32273">
                <a:extLst>
                  <a:ext uri="{FF2B5EF4-FFF2-40B4-BE49-F238E27FC236}">
                    <a16:creationId xmlns:a16="http://schemas.microsoft.com/office/drawing/2014/main" id="{754746F1-3DB2-605F-B74D-BCD35F7429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225723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5" name="Picture 32274">
                <a:extLst>
                  <a:ext uri="{FF2B5EF4-FFF2-40B4-BE49-F238E27FC236}">
                    <a16:creationId xmlns:a16="http://schemas.microsoft.com/office/drawing/2014/main" id="{1CFDBB45-F0E5-1AC5-FF0C-EA5A814569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098142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6" name="Picture 32275">
                <a:extLst>
                  <a:ext uri="{FF2B5EF4-FFF2-40B4-BE49-F238E27FC236}">
                    <a16:creationId xmlns:a16="http://schemas.microsoft.com/office/drawing/2014/main" id="{E3EC3EF2-7495-2B90-6DEA-A4E0213ADD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970561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7" name="Picture 32276">
                <a:extLst>
                  <a:ext uri="{FF2B5EF4-FFF2-40B4-BE49-F238E27FC236}">
                    <a16:creationId xmlns:a16="http://schemas.microsoft.com/office/drawing/2014/main" id="{24141889-C7CE-DD95-1A7B-18930BC321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842980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8" name="Picture 32277">
                <a:extLst>
                  <a:ext uri="{FF2B5EF4-FFF2-40B4-BE49-F238E27FC236}">
                    <a16:creationId xmlns:a16="http://schemas.microsoft.com/office/drawing/2014/main" id="{D692FD4A-F919-B54F-EAAA-A0C5B7C580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715399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79" name="Picture 32278">
                <a:extLst>
                  <a:ext uri="{FF2B5EF4-FFF2-40B4-BE49-F238E27FC236}">
                    <a16:creationId xmlns:a16="http://schemas.microsoft.com/office/drawing/2014/main" id="{96E11F18-81EE-3117-6B8B-72E9E9ABB6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587818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80" name="Picture 32279">
                <a:extLst>
                  <a:ext uri="{FF2B5EF4-FFF2-40B4-BE49-F238E27FC236}">
                    <a16:creationId xmlns:a16="http://schemas.microsoft.com/office/drawing/2014/main" id="{044F674E-252C-C6D0-5E41-F5B6D71140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460237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81" name="Picture 32280">
                <a:extLst>
                  <a:ext uri="{FF2B5EF4-FFF2-40B4-BE49-F238E27FC236}">
                    <a16:creationId xmlns:a16="http://schemas.microsoft.com/office/drawing/2014/main" id="{41BDC6E4-D53D-659C-DD9F-694D9938A2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332656"/>
                <a:ext cx="969391" cy="461272"/>
              </a:xfrm>
              <a:prstGeom prst="rect">
                <a:avLst/>
              </a:prstGeom>
            </p:spPr>
          </p:pic>
        </p:grpSp>
        <p:grpSp>
          <p:nvGrpSpPr>
            <p:cNvPr id="32259" name="Group 32258">
              <a:extLst>
                <a:ext uri="{FF2B5EF4-FFF2-40B4-BE49-F238E27FC236}">
                  <a16:creationId xmlns:a16="http://schemas.microsoft.com/office/drawing/2014/main" id="{36C361F1-F450-7705-DCCC-44E7C2F594FC}"/>
                </a:ext>
              </a:extLst>
            </p:cNvPr>
            <p:cNvGrpSpPr/>
            <p:nvPr/>
          </p:nvGrpSpPr>
          <p:grpSpPr>
            <a:xfrm>
              <a:off x="8426143" y="1872273"/>
              <a:ext cx="463653" cy="708793"/>
              <a:chOff x="9984431" y="715399"/>
              <a:chExt cx="969392" cy="1481925"/>
            </a:xfrm>
          </p:grpSpPr>
          <p:pic>
            <p:nvPicPr>
              <p:cNvPr id="32261" name="Picture 32260">
                <a:extLst>
                  <a:ext uri="{FF2B5EF4-FFF2-40B4-BE49-F238E27FC236}">
                    <a16:creationId xmlns:a16="http://schemas.microsoft.com/office/drawing/2014/main" id="{0C0F1E0D-6B04-53C8-88F3-2B3903BB74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736052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2" name="Picture 32261">
                <a:extLst>
                  <a:ext uri="{FF2B5EF4-FFF2-40B4-BE49-F238E27FC236}">
                    <a16:creationId xmlns:a16="http://schemas.microsoft.com/office/drawing/2014/main" id="{ADE1C873-134E-C9A9-19C9-7AB63E0FE7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608466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3" name="Picture 32262">
                <a:extLst>
                  <a:ext uri="{FF2B5EF4-FFF2-40B4-BE49-F238E27FC236}">
                    <a16:creationId xmlns:a16="http://schemas.microsoft.com/office/drawing/2014/main" id="{B5DF6024-E9E0-E536-D94D-1EA3E2EB72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480885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4" name="Picture 32263">
                <a:extLst>
                  <a:ext uri="{FF2B5EF4-FFF2-40B4-BE49-F238E27FC236}">
                    <a16:creationId xmlns:a16="http://schemas.microsoft.com/office/drawing/2014/main" id="{E359DDA8-C410-439D-181A-C0C4FEE83D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353304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5" name="Picture 32264">
                <a:extLst>
                  <a:ext uri="{FF2B5EF4-FFF2-40B4-BE49-F238E27FC236}">
                    <a16:creationId xmlns:a16="http://schemas.microsoft.com/office/drawing/2014/main" id="{7CFEA005-AF8B-91AD-E93B-D5451DB1C4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1225723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6" name="Picture 32265">
                <a:extLst>
                  <a:ext uri="{FF2B5EF4-FFF2-40B4-BE49-F238E27FC236}">
                    <a16:creationId xmlns:a16="http://schemas.microsoft.com/office/drawing/2014/main" id="{ABA08BE5-B776-7A6E-043E-A64395654F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1098142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7" name="Picture 32266">
                <a:extLst>
                  <a:ext uri="{FF2B5EF4-FFF2-40B4-BE49-F238E27FC236}">
                    <a16:creationId xmlns:a16="http://schemas.microsoft.com/office/drawing/2014/main" id="{47A72252-2E54-F21B-A2E2-2EFA5E03C5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970561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8" name="Picture 32267">
                <a:extLst>
                  <a:ext uri="{FF2B5EF4-FFF2-40B4-BE49-F238E27FC236}">
                    <a16:creationId xmlns:a16="http://schemas.microsoft.com/office/drawing/2014/main" id="{D75CFBF3-1B99-5BA2-0E9F-2613E0D606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1" y="842980"/>
                <a:ext cx="969391" cy="461272"/>
              </a:xfrm>
              <a:prstGeom prst="rect">
                <a:avLst/>
              </a:prstGeom>
            </p:spPr>
          </p:pic>
          <p:pic>
            <p:nvPicPr>
              <p:cNvPr id="32269" name="Picture 32268">
                <a:extLst>
                  <a:ext uri="{FF2B5EF4-FFF2-40B4-BE49-F238E27FC236}">
                    <a16:creationId xmlns:a16="http://schemas.microsoft.com/office/drawing/2014/main" id="{29E7593B-B562-C148-2FBE-00FB3B8FD0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84432" y="715399"/>
                <a:ext cx="969391" cy="461272"/>
              </a:xfrm>
              <a:prstGeom prst="rect">
                <a:avLst/>
              </a:prstGeom>
            </p:spPr>
          </p:pic>
        </p:grpSp>
        <p:pic>
          <p:nvPicPr>
            <p:cNvPr id="32260" name="Picture 32259">
              <a:extLst>
                <a:ext uri="{FF2B5EF4-FFF2-40B4-BE49-F238E27FC236}">
                  <a16:creationId xmlns:a16="http://schemas.microsoft.com/office/drawing/2014/main" id="{E27287B2-E479-219B-7FA7-F97365C00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38387" y="2401795"/>
              <a:ext cx="463652" cy="220622"/>
            </a:xfrm>
            <a:prstGeom prst="rect">
              <a:avLst/>
            </a:prstGeom>
          </p:spPr>
        </p:pic>
      </p:grpSp>
      <p:sp>
        <p:nvSpPr>
          <p:cNvPr id="32461" name="TextBox 32460">
            <a:extLst>
              <a:ext uri="{FF2B5EF4-FFF2-40B4-BE49-F238E27FC236}">
                <a16:creationId xmlns:a16="http://schemas.microsoft.com/office/drawing/2014/main" id="{31BC4F7E-260C-42B5-51EA-0FA49284A16F}"/>
              </a:ext>
            </a:extLst>
          </p:cNvPr>
          <p:cNvSpPr txBox="1"/>
          <p:nvPr/>
        </p:nvSpPr>
        <p:spPr>
          <a:xfrm>
            <a:off x="7713741" y="2400359"/>
            <a:ext cx="3327662" cy="26395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l-GR" sz="1500" b="1" dirty="0">
                <a:solidFill>
                  <a:srgbClr val="098E7E"/>
                </a:solidFill>
              </a:rPr>
              <a:t>Επιλέξιμες δαπάνε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5D359D-AE1F-B165-64E4-4AC9C44DBD4D}"/>
              </a:ext>
            </a:extLst>
          </p:cNvPr>
          <p:cNvSpPr txBox="1"/>
          <p:nvPr/>
        </p:nvSpPr>
        <p:spPr>
          <a:xfrm>
            <a:off x="6616489" y="2919545"/>
            <a:ext cx="5193074" cy="153958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l-GR" sz="1200" b="1" dirty="0">
                <a:solidFill>
                  <a:schemeClr val="tx2"/>
                </a:solidFill>
              </a:rPr>
              <a:t>Αμοιβή αναδόχου κατόπιν διαγωνιστικής διαδικασίας για παροχή υπηρεσιών σχεδιασμού και ανάπτυξης Ηλεκτρονικής Πλατφόρμας και </a:t>
            </a:r>
            <a:r>
              <a:rPr lang="el-GR" sz="1200" b="1" dirty="0" err="1">
                <a:solidFill>
                  <a:schemeClr val="tx2"/>
                </a:solidFill>
              </a:rPr>
              <a:t>ιστότοπου</a:t>
            </a:r>
            <a:r>
              <a:rPr lang="el-GR" sz="1200" b="1" dirty="0">
                <a:solidFill>
                  <a:schemeClr val="tx2"/>
                </a:solidFill>
              </a:rPr>
              <a:t> του Εθνικού Παρατηρητηρίου και των Περιφερειακών Παρατηρητηρίων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D18646D-D71C-4874-6498-E2A74C013BD8}"/>
              </a:ext>
            </a:extLst>
          </p:cNvPr>
          <p:cNvSpPr txBox="1">
            <a:spLocks noChangeArrowheads="1"/>
          </p:cNvSpPr>
          <p:nvPr/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altLang="el-GR" sz="4000" dirty="0">
                <a:latin typeface="KPMG Greek Bold" panose="020B0803030202040204" pitchFamily="34" charset="0"/>
              </a:rPr>
              <a:t>Αντικείμενο Υπηρεσιών &amp; Επιλέξιμες Δαπάνε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7654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heme/theme1.xml><?xml version="1.0" encoding="utf-8"?>
<a:theme xmlns:a="http://schemas.openxmlformats.org/drawingml/2006/main" name="1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2.xml><?xml version="1.0" encoding="utf-8"?>
<a:theme xmlns:a="http://schemas.openxmlformats.org/drawingml/2006/main" name="2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0D07B9DA-DB2F-4A1F-8CAC-6FD7C4A19BFD}" vid="{9D8C322F-4652-47D4-9D05-B3D11C31107F}"/>
    </a:ext>
  </a:extLst>
</a:theme>
</file>

<file path=ppt/theme/theme3.xml><?xml version="1.0" encoding="utf-8"?>
<a:theme xmlns:a="http://schemas.openxmlformats.org/drawingml/2006/main" name="3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0D07B9DA-DB2F-4A1F-8CAC-6FD7C4A19BFD}" vid="{9D8C322F-4652-47D4-9D05-B3D11C31107F}"/>
    </a:ext>
  </a:extLst>
</a:theme>
</file>

<file path=docMetadata/LabelInfo.xml><?xml version="1.0" encoding="utf-8"?>
<clbl:labelList xmlns:clbl="http://schemas.microsoft.com/office/2020/mipLabelMetadata"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4</TotalTime>
  <Words>154</Words>
  <Application>Microsoft Office PowerPoint</Application>
  <PresentationFormat>Ευρεία οθόνη</PresentationFormat>
  <Paragraphs>28</Paragraphs>
  <Slides>3</Slides>
  <Notes>0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12" baseType="lpstr">
      <vt:lpstr>Arial</vt:lpstr>
      <vt:lpstr>KPMG Bold</vt:lpstr>
      <vt:lpstr>KPMG Greek Bold</vt:lpstr>
      <vt:lpstr>Univers for KPMG</vt:lpstr>
      <vt:lpstr>Wingdings</vt:lpstr>
      <vt:lpstr>1_KPMG Widescreen [16:9] Feb 2022</vt:lpstr>
      <vt:lpstr>2_KPMG Widescreen [16:9] Feb 2022</vt:lpstr>
      <vt:lpstr>3_KPMG Widescreen [16:9] Feb 2022</vt:lpstr>
      <vt:lpstr>think-cell Slide</vt:lpstr>
      <vt:lpstr>Δράση 16931 Sub 1  «Σχεδιασμός και ανάπτυξη πλατφόρμας και ιστοσελίδας Εθνικού Παρατηρητηρίου Βιώσιμης Τουριστικής Ανάπτυξης»    </vt:lpstr>
      <vt:lpstr>Ταυτότητα έργου</vt:lpstr>
      <vt:lpstr>Παρουσίαση του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Δράση 16931  Sub 6  «Βελτίωση και τροποποίηση της προσβασιμότητας στις ελληνικές παραλίες»</dc:title>
  <dc:creator>Bartzokis, Anastasios</dc:creator>
  <cp:lastModifiedBy>Μαρία Κριθαριώτη</cp:lastModifiedBy>
  <cp:revision>5</cp:revision>
  <dcterms:created xsi:type="dcterms:W3CDTF">2025-05-02T09:33:05Z</dcterms:created>
  <dcterms:modified xsi:type="dcterms:W3CDTF">2025-05-16T12:39:50Z</dcterms:modified>
</cp:coreProperties>
</file>